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29.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0.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31.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2.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3.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4.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35.xml" ContentType="application/vnd.openxmlformats-officedocument.presentationml.tags+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6.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tags/tag37.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38.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ags/tag39.xml" ContentType="application/vnd.openxmlformats-officedocument.presentationml.tags+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40.xml" ContentType="application/vnd.openxmlformats-officedocument.presentationml.tags+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tags/tag41.xml" ContentType="application/vnd.openxmlformats-officedocument.presentationml.tags+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42.xml" ContentType="application/vnd.openxmlformats-officedocument.presentationml.tags+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tags/tag43.xml" ContentType="application/vnd.openxmlformats-officedocument.presentationml.tags+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4.xml" ContentType="application/vnd.openxmlformats-officedocument.presentationml.tags+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tags/tag45.xml" ContentType="application/vnd.openxmlformats-officedocument.presentationml.tags+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46.xml" ContentType="application/vnd.openxmlformats-officedocument.presentationml.tags+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tags/tag47.xml" ContentType="application/vnd.openxmlformats-officedocument.presentationml.tags+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48.xml" ContentType="application/vnd.openxmlformats-officedocument.presentationml.tags+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ags/tag49.xml" ContentType="application/vnd.openxmlformats-officedocument.presentationml.tags+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50.xml" ContentType="application/vnd.openxmlformats-officedocument.presentationml.tags+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tags/tag51.xml" ContentType="application/vnd.openxmlformats-officedocument.presentationml.tags+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52.xml" ContentType="application/vnd.openxmlformats-officedocument.presentationml.tags+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tags/tag53.xml" ContentType="application/vnd.openxmlformats-officedocument.presentationml.tags+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tags/tag54.xml" ContentType="application/vnd.openxmlformats-officedocument.presentationml.tags+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tags/tag55.xml" ContentType="application/vnd.openxmlformats-officedocument.presentationml.tags+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56.xml" ContentType="application/vnd.openxmlformats-officedocument.presentationml.tags+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ags/tag57.xml" ContentType="application/vnd.openxmlformats-officedocument.presentationml.tags+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tags/tag58.xml" ContentType="application/vnd.openxmlformats-officedocument.presentationml.tags+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tags/tag59.xml" ContentType="application/vnd.openxmlformats-officedocument.presentationml.tags+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60.xml" ContentType="application/vnd.openxmlformats-officedocument.presentationml.tags+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tags/tag61.xml" ContentType="application/vnd.openxmlformats-officedocument.presentationml.tags+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62.xml" ContentType="application/vnd.openxmlformats-officedocument.presentationml.tags+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tags/tag63.xml" ContentType="application/vnd.openxmlformats-officedocument.presentationml.tags+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64.xml" ContentType="application/vnd.openxmlformats-officedocument.presentationml.tags+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tags/tag65.xml" ContentType="application/vnd.openxmlformats-officedocument.presentationml.tags+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tags/tag66.xml" ContentType="application/vnd.openxmlformats-officedocument.presentationml.tags+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tags/tag67.xml" ContentType="application/vnd.openxmlformats-officedocument.presentationml.tags+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68.xml" ContentType="application/vnd.openxmlformats-officedocument.presentationml.tags+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tags/tag69.xml" ContentType="application/vnd.openxmlformats-officedocument.presentationml.tags+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tags/tag70.xml" ContentType="application/vnd.openxmlformats-officedocument.presentationml.tags+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tags/tag71.xml" ContentType="application/vnd.openxmlformats-officedocument.presentationml.tags+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72.xml" ContentType="application/vnd.openxmlformats-officedocument.presentationml.tags+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tags/tag73.xml" ContentType="application/vnd.openxmlformats-officedocument.presentationml.tags+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tags/tag74.xml" ContentType="application/vnd.openxmlformats-officedocument.presentationml.tags+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tags/tag75.xml" ContentType="application/vnd.openxmlformats-officedocument.presentationml.tags+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76.xml" ContentType="application/vnd.openxmlformats-officedocument.presentationml.tags+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tags/tag77.xml" ContentType="application/vnd.openxmlformats-officedocument.presentationml.tags+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tags/tag78.xml" ContentType="application/vnd.openxmlformats-officedocument.presentationml.tags+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tags/tag79.xml" ContentType="application/vnd.openxmlformats-officedocument.presentationml.tags+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tags/tag80.xml" ContentType="application/vnd.openxmlformats-officedocument.presentationml.tags+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tags/tag81.xml" ContentType="application/vnd.openxmlformats-officedocument.presentationml.tags+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tags/tag82.xml" ContentType="application/vnd.openxmlformats-officedocument.presentationml.tags+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tags/tag83.xml" ContentType="application/vnd.openxmlformats-officedocument.presentationml.tags+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84.xml" ContentType="application/vnd.openxmlformats-officedocument.presentationml.tags+xml"/>
  <Override PartName="/ppt/charts/chart169.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tags/tag85.xml" ContentType="application/vnd.openxmlformats-officedocument.presentationml.tags+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tags/tag86.xml" ContentType="application/vnd.openxmlformats-officedocument.presentationml.tags+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tags/tag87.xml" ContentType="application/vnd.openxmlformats-officedocument.presentationml.tags+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tags/tag88.xml" ContentType="application/vnd.openxmlformats-officedocument.presentationml.tags+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tags/tag89.xml" ContentType="application/vnd.openxmlformats-officedocument.presentationml.tags+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tags/tag90.xml" ContentType="application/vnd.openxmlformats-officedocument.presentationml.tags+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tags/tag91.xml" ContentType="application/vnd.openxmlformats-officedocument.presentationml.tags+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92.xml" ContentType="application/vnd.openxmlformats-officedocument.presentationml.tags+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tags/tag93.xml" ContentType="application/vnd.openxmlformats-officedocument.presentationml.tags+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tags/tag94.xml" ContentType="application/vnd.openxmlformats-officedocument.presentationml.tags+xml"/>
  <Override PartName="/ppt/charts/chart199.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tags/tag95.xml" ContentType="application/vnd.openxmlformats-officedocument.presentationml.tags+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tags/tag96.xml" ContentType="application/vnd.openxmlformats-officedocument.presentationml.tags+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tags/tag97.xml" ContentType="application/vnd.openxmlformats-officedocument.presentationml.tags+xml"/>
  <Override PartName="/ppt/charts/chart208.xml" ContentType="application/vnd.openxmlformats-officedocument.drawingml.chart+xml"/>
  <Override PartName="/ppt/charts/chart209.xml" ContentType="application/vnd.openxmlformats-officedocument.drawingml.chart+xml"/>
  <Override PartName="/ppt/charts/chart210.xml" ContentType="application/vnd.openxmlformats-officedocument.drawingml.chart+xml"/>
  <Override PartName="/ppt/tags/tag98.xml" ContentType="application/vnd.openxmlformats-officedocument.presentationml.tags+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tags/tag99.xml" ContentType="application/vnd.openxmlformats-officedocument.presentationml.tags+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tags/tag100.xml" ContentType="application/vnd.openxmlformats-officedocument.presentationml.tags+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tags/tag101.xml" ContentType="application/vnd.openxmlformats-officedocument.presentationml.tags+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tags/tag102.xml" ContentType="application/vnd.openxmlformats-officedocument.presentationml.tags+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tags/tag103.xml" ContentType="application/vnd.openxmlformats-officedocument.presentationml.tags+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tags/tag104.xml" ContentType="application/vnd.openxmlformats-officedocument.presentationml.tags+xml"/>
  <Override PartName="/ppt/charts/chart229.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tags/tag105.xml" ContentType="application/vnd.openxmlformats-officedocument.presentationml.tags+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tags/tag106.xml" ContentType="application/vnd.openxmlformats-officedocument.presentationml.tags+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tags/tag107.xml" ContentType="application/vnd.openxmlformats-officedocument.presentationml.tags+xml"/>
  <Override PartName="/ppt/charts/chart238.xml" ContentType="application/vnd.openxmlformats-officedocument.drawingml.chart+xml"/>
  <Override PartName="/ppt/charts/chart239.xml" ContentType="application/vnd.openxmlformats-officedocument.drawingml.chart+xml"/>
  <Override PartName="/ppt/charts/chart240.xml" ContentType="application/vnd.openxmlformats-officedocument.drawingml.chart+xml"/>
  <Override PartName="/ppt/tags/tag108.xml" ContentType="application/vnd.openxmlformats-officedocument.presentationml.tags+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tags/tag109.xml" ContentType="application/vnd.openxmlformats-officedocument.presentationml.tags+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tags/tag110.xml" ContentType="application/vnd.openxmlformats-officedocument.presentationml.tags+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tags/tag111.xml" ContentType="application/vnd.openxmlformats-officedocument.presentationml.tags+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tags/tag112.xml" ContentType="application/vnd.openxmlformats-officedocument.presentationml.tags+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tags/tag113.xml" ContentType="application/vnd.openxmlformats-officedocument.presentationml.tags+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tags/tag114.xml" ContentType="application/vnd.openxmlformats-officedocument.presentationml.tags+xml"/>
  <Override PartName="/ppt/charts/chart259.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tags/tag115.xml" ContentType="application/vnd.openxmlformats-officedocument.presentationml.tags+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tags/tag116.xml" ContentType="application/vnd.openxmlformats-officedocument.presentationml.tags+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tags/tag117.xml" ContentType="application/vnd.openxmlformats-officedocument.presentationml.tags+xml"/>
  <Override PartName="/ppt/charts/chart268.xml" ContentType="application/vnd.openxmlformats-officedocument.drawingml.chart+xml"/>
  <Override PartName="/ppt/charts/chart269.xml" ContentType="application/vnd.openxmlformats-officedocument.drawingml.chart+xml"/>
  <Override PartName="/ppt/charts/chart270.xml" ContentType="application/vnd.openxmlformats-officedocument.drawingml.chart+xml"/>
  <Override PartName="/ppt/tags/tag118.xml" ContentType="application/vnd.openxmlformats-officedocument.presentationml.tags+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tags/tag119.xml" ContentType="application/vnd.openxmlformats-officedocument.presentationml.tags+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tags/tag120.xml" ContentType="application/vnd.openxmlformats-officedocument.presentationml.tags+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tags/tag121.xml" ContentType="application/vnd.openxmlformats-officedocument.presentationml.tags+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tags/tag122.xml" ContentType="application/vnd.openxmlformats-officedocument.presentationml.tags+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tags/tag123.xml" ContentType="application/vnd.openxmlformats-officedocument.presentationml.tags+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tags/tag124.xml" ContentType="application/vnd.openxmlformats-officedocument.presentationml.tags+xml"/>
  <Override PartName="/ppt/charts/chart28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tags/tag125.xml" ContentType="application/vnd.openxmlformats-officedocument.presentationml.tags+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tags/tag126.xml" ContentType="application/vnd.openxmlformats-officedocument.presentationml.tags+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104"/>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 id="2147475227" r:id="rId59"/>
    <p:sldId id="2147475228" r:id="rId60"/>
    <p:sldId id="2147475229" r:id="rId61"/>
    <p:sldId id="2147475230" r:id="rId62"/>
    <p:sldId id="2147475231" r:id="rId63"/>
    <p:sldId id="2147475232" r:id="rId64"/>
    <p:sldId id="2147475233" r:id="rId65"/>
    <p:sldId id="2147475234" r:id="rId66"/>
    <p:sldId id="2147475235" r:id="rId67"/>
    <p:sldId id="2147475236" r:id="rId68"/>
    <p:sldId id="2147475237" r:id="rId69"/>
    <p:sldId id="2147475238" r:id="rId70"/>
    <p:sldId id="2147475239" r:id="rId71"/>
    <p:sldId id="2147475240" r:id="rId72"/>
    <p:sldId id="2147475241" r:id="rId73"/>
    <p:sldId id="2147475242" r:id="rId74"/>
    <p:sldId id="2147475243" r:id="rId75"/>
    <p:sldId id="2147475244" r:id="rId76"/>
    <p:sldId id="2147475245" r:id="rId77"/>
    <p:sldId id="2147475246" r:id="rId78"/>
    <p:sldId id="2147475247" r:id="rId79"/>
    <p:sldId id="2147475248" r:id="rId80"/>
    <p:sldId id="2147475249" r:id="rId81"/>
    <p:sldId id="2147475250" r:id="rId82"/>
    <p:sldId id="2147475251" r:id="rId83"/>
    <p:sldId id="2147475252" r:id="rId84"/>
    <p:sldId id="2147475253" r:id="rId85"/>
    <p:sldId id="2147475254" r:id="rId86"/>
    <p:sldId id="2147475255" r:id="rId87"/>
    <p:sldId id="2147475256" r:id="rId88"/>
    <p:sldId id="2147475257" r:id="rId89"/>
    <p:sldId id="2147475258" r:id="rId90"/>
    <p:sldId id="2147475259" r:id="rId91"/>
    <p:sldId id="2147475260" r:id="rId92"/>
    <p:sldId id="2147475261" r:id="rId93"/>
    <p:sldId id="2147475262" r:id="rId94"/>
    <p:sldId id="2147475263" r:id="rId95"/>
    <p:sldId id="2147475264" r:id="rId96"/>
    <p:sldId id="2147475265" r:id="rId97"/>
    <p:sldId id="2147475266" r:id="rId98"/>
    <p:sldId id="2147475267" r:id="rId99"/>
    <p:sldId id="2147475268" r:id="rId100"/>
    <p:sldId id="2147475269" r:id="rId101"/>
    <p:sldId id="2147475270" r:id="rId102"/>
    <p:sldId id="2147475271" r:id="rId103"/>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nd Share Topline By Pack Count Bracket" id="{8217CEDD-2A0A-4781-AEC1-624131E32998}">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85" d="100"/>
          <a:sy n="85" d="100"/>
        </p:scale>
        <p:origin x="444" y="84"/>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07" Type="http://schemas.openxmlformats.org/officeDocument/2006/relationships/theme" Target="theme/theme1.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tableStyles" Target="tableStyles.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viewProps" Target="view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microsoft.com/office/2015/10/relationships/revisionInfo" Target="revisionInfo.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notesMaster" Target="notesMasters/notesMaster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microsoft.com/office/2018/10/relationships/authors" Target="author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5.4451480847355184E-3</c:v>
                </c:pt>
                <c:pt idx="4">
                  <c:v>0.12870046545676861</c:v>
                </c:pt>
                <c:pt idx="5">
                  <c:v>0.8658500114004464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4">
                  <c:v>1.0547887805604389E-8</c:v>
                </c:pt>
                <c:pt idx="5">
                  <c:v>1.916892412722273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3">
                  <c:v>5.4440544488559665E-3</c:v>
                </c:pt>
                <c:pt idx="4">
                  <c:v>0.12524048272511962</c:v>
                </c:pt>
                <c:pt idx="5">
                  <c:v>0.3266178918004843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4">
                  <c:v>1.1252589617241256E-4</c:v>
                </c:pt>
                <c:pt idx="5">
                  <c:v>5.666614109757550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2.737109713517606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3">
                  <c:v>5.2435865671665522E-6</c:v>
                </c:pt>
                <c:pt idx="4">
                  <c:v>3.3474462875887484E-3</c:v>
                </c:pt>
                <c:pt idx="5">
                  <c:v>0.43602595723998788</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3984401396409954</c:v>
                </c:pt>
                <c:pt idx="5">
                  <c:v>0.8601559860359003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5">
                  <c:v>2.624183412015516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0.13423146736840527</c:v>
                </c:pt>
                <c:pt idx="5">
                  <c:v>0.2726357435332513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4">
                  <c:v>7.3497925649669908E-9</c:v>
                </c:pt>
                <c:pt idx="5">
                  <c:v>5.535406357842510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2.968241411580580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37785574056630339</c:v>
                </c:pt>
                <c:pt idx="5">
                  <c:v>0.1039987293678613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2.9789208205848974E-2</c:v>
                </c:pt>
                <c:pt idx="4">
                  <c:v>0.96665797841274659</c:v>
                </c:pt>
                <c:pt idx="5">
                  <c:v>3.5293358835349446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B$2:$B$7</c:f>
              <c:numCache>
                <c:formatCode>General</c:formatCode>
                <c:ptCount val="6"/>
                <c:pt idx="4">
                  <c:v>1.6027818439834314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C$2:$C$7</c:f>
              <c:numCache>
                <c:formatCode>General</c:formatCode>
                <c:ptCount val="6"/>
                <c:pt idx="3">
                  <c:v>2.9783414678698657E-2</c:v>
                </c:pt>
                <c:pt idx="4">
                  <c:v>0.4218542655283452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D$2:$D$7</c:f>
              <c:numCache>
                <c:formatCode>General</c:formatCode>
                <c:ptCount val="6"/>
                <c:pt idx="4">
                  <c:v>7.640248034127065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ntremo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E$2:$E$7</c:f>
              <c:numCache>
                <c:formatCode>General</c:formatCode>
                <c:ptCount val="6"/>
                <c:pt idx="4">
                  <c:v>4.709731656839005E-2</c:v>
                </c:pt>
                <c:pt idx="5">
                  <c:v>6.746325765544059E-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F$2:$F$7</c:f>
              <c:numCache>
                <c:formatCode>General</c:formatCode>
                <c:ptCount val="6"/>
                <c:pt idx="2">
                  <c:v>2.2870719333027669E-5</c:v>
                </c:pt>
                <c:pt idx="3">
                  <c:v>5.7935271503155614E-6</c:v>
                </c:pt>
                <c:pt idx="4">
                  <c:v>3.4618726258795044E-3</c:v>
                </c:pt>
                <c:pt idx="5">
                  <c:v>0.4052760975349063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3.1597009283891027E-3</c:v>
                </c:pt>
                <c:pt idx="4">
                  <c:v>0.77431463134237177</c:v>
                </c:pt>
                <c:pt idx="5">
                  <c:v>0.2225252735613500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3.1597009283891027E-3</c:v>
                </c:pt>
                <c:pt idx="4">
                  <c:v>0.77431463134237177</c:v>
                </c:pt>
                <c:pt idx="5">
                  <c:v>0.2225252735613500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B$2:$B$7</c:f>
              <c:numCache>
                <c:formatCode>General</c:formatCode>
                <c:ptCount val="6"/>
                <c:pt idx="4">
                  <c:v>3.2235929754931447E-2</c:v>
                </c:pt>
                <c:pt idx="5">
                  <c:v>1.8469581090176714E-8</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C$2:$C$7</c:f>
              <c:numCache>
                <c:formatCode>General</c:formatCode>
                <c:ptCount val="6"/>
                <c:pt idx="3">
                  <c:v>3.159209232102275E-3</c:v>
                </c:pt>
                <c:pt idx="4">
                  <c:v>0.17566290999614273</c:v>
                </c:pt>
                <c:pt idx="5">
                  <c:v>0.2177923519600419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D$2:$D$7</c:f>
              <c:numCache>
                <c:formatCode>General</c:formatCode>
                <c:ptCount val="6"/>
                <c:pt idx="4">
                  <c:v>5.182131499894177E-2</c:v>
                </c:pt>
                <c:pt idx="5">
                  <c:v>1.9703529298035544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E$2:$E$7</c:f>
              <c:numCache>
                <c:formatCode>General</c:formatCode>
                <c:ptCount val="6"/>
                <c:pt idx="4">
                  <c:v>4.5214052332739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F$2:$F$7</c:f>
              <c:numCache>
                <c:formatCode>General</c:formatCode>
                <c:ptCount val="6"/>
                <c:pt idx="4">
                  <c:v>0.46938042425961629</c:v>
                </c:pt>
                <c:pt idx="5">
                  <c:v>4.535867838746612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22360514585842806</c:v>
                </c:pt>
                <c:pt idx="5">
                  <c:v>0.7763948541415720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5">
                  <c:v>4.037205633115434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0.21612229879494099</c:v>
                </c:pt>
                <c:pt idx="5">
                  <c:v>0.1328849187643954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4">
                  <c:v>1.1925426017956352E-8</c:v>
                </c:pt>
                <c:pt idx="5">
                  <c:v>5.235172448682970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4.559173977151572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40738385542715932</c:v>
                </c:pt>
                <c:pt idx="5">
                  <c:v>0.1052933944985783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2.4238281095927957E-2</c:v>
                </c:pt>
                <c:pt idx="4">
                  <c:v>0.97034686696433581</c:v>
                </c:pt>
                <c:pt idx="5">
                  <c:v>5.4133670886693953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B$2:$B$7</c:f>
              <c:numCache>
                <c:formatCode>General</c:formatCode>
                <c:ptCount val="6"/>
                <c:pt idx="4">
                  <c:v>3.921992761517963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C$2:$C$7</c:f>
              <c:numCache>
                <c:formatCode>General</c:formatCode>
                <c:ptCount val="6"/>
                <c:pt idx="3">
                  <c:v>2.4234822818677237E-2</c:v>
                </c:pt>
                <c:pt idx="4">
                  <c:v>0.3059885137172341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D$2:$D$7</c:f>
              <c:numCache>
                <c:formatCode>General</c:formatCode>
                <c:ptCount val="6"/>
                <c:pt idx="4">
                  <c:v>6.829238651639295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E$2:$E$7</c:f>
              <c:numCache>
                <c:formatCode>General</c:formatCode>
                <c:ptCount val="6"/>
                <c:pt idx="4">
                  <c:v>5.758097519235154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F$2:$F$7</c:f>
              <c:numCache>
                <c:formatCode>General</c:formatCode>
                <c:ptCount val="6"/>
                <c:pt idx="3">
                  <c:v>3.4582772507200774E-6</c:v>
                </c:pt>
                <c:pt idx="4">
                  <c:v>5.4133670886693953E-3</c:v>
                </c:pt>
                <c:pt idx="5">
                  <c:v>0.4992650639231774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5.2056343329605625E-2</c:v>
                </c:pt>
                <c:pt idx="5">
                  <c:v>0.9479436566703942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B$2:$B$7</c:f>
              <c:numCache>
                <c:formatCode>General</c:formatCode>
                <c:ptCount val="6"/>
                <c:pt idx="4">
                  <c:v>2.5908878788716384E-2</c:v>
                </c:pt>
                <c:pt idx="5">
                  <c:v>1.0631271066540742E-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C$2:$C$7</c:f>
              <c:numCache>
                <c:formatCode>General</c:formatCode>
                <c:ptCount val="6"/>
                <c:pt idx="3">
                  <c:v>3.159209232102275E-3</c:v>
                </c:pt>
                <c:pt idx="4">
                  <c:v>0.17566290999614273</c:v>
                </c:pt>
                <c:pt idx="5">
                  <c:v>0.2177923519600419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D$2:$D$7</c:f>
              <c:numCache>
                <c:formatCode>General</c:formatCode>
                <c:ptCount val="6"/>
                <c:pt idx="4">
                  <c:v>5.182131499894177E-2</c:v>
                </c:pt>
                <c:pt idx="5">
                  <c:v>1.9703529298035544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E$2:$E$7</c:f>
              <c:numCache>
                <c:formatCode>General</c:formatCode>
                <c:ptCount val="6"/>
                <c:pt idx="4">
                  <c:v>4.5214052332739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F$2:$F$7</c:f>
              <c:numCache>
                <c:formatCode>General</c:formatCode>
                <c:ptCount val="6"/>
                <c:pt idx="4">
                  <c:v>0.47570747522583134</c:v>
                </c:pt>
                <c:pt idx="5">
                  <c:v>4.535779995617037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1.8192671495240512E-2</c:v>
                </c:pt>
                <c:pt idx="5">
                  <c:v>0.5855841006929293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451477701234958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7.3340075682900804E-4</c:v>
                </c:pt>
                <c:pt idx="5">
                  <c:v>8.643750143114342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13077428442282568</c:v>
                </c:pt>
                <c:pt idx="5">
                  <c:v>3.313027107753610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5.9487844102859788E-2</c:v>
                </c:pt>
                <c:pt idx="5">
                  <c:v>0.9405121558971402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1.7951669769388317E-2</c:v>
                </c:pt>
                <c:pt idx="5">
                  <c:v>0.5935446195241822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478521218277793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1.3558621545661643E-3</c:v>
                </c:pt>
                <c:pt idx="5">
                  <c:v>9.383235089894680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10528306364623184</c:v>
                </c:pt>
                <c:pt idx="5">
                  <c:v>4.018031217890530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7423533038835943E-2</c:v>
                </c:pt>
                <c:pt idx="5">
                  <c:v>0.9825764669611640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1.6018569703900136E-2</c:v>
                </c:pt>
                <c:pt idx="5">
                  <c:v>0.5942142929124348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240487593445808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1.2662711277150168E-3</c:v>
                </c:pt>
                <c:pt idx="5">
                  <c:v>0.11085873447412328</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15345468023002504</c:v>
                </c:pt>
                <c:pt idx="5">
                  <c:v>1.3869220722078989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2.0730484529548742E-3</c:v>
                </c:pt>
                <c:pt idx="5">
                  <c:v>0.9979269515470452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5">
                  <c:v>4.1998249736974497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5497299349588573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24340853554888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6.10057270324376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1017845042698866</c:v>
                </c:pt>
                <c:pt idx="5">
                  <c:v>2.073048452954874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2 CT</c:v>
                </c:pt>
                <c:pt idx="5">
                  <c:v>1 CT</c:v>
                </c:pt>
              </c:strCache>
            </c:strRef>
          </c:cat>
          <c:val>
            <c:numRef>
              <c:f>Sheet1!$B$2:$B$7</c:f>
              <c:numCache>
                <c:formatCode>General</c:formatCode>
                <c:ptCount val="6"/>
                <c:pt idx="4">
                  <c:v>9.569493270692720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2 CT</c:v>
                </c:pt>
                <c:pt idx="5">
                  <c:v>1 CT</c:v>
                </c:pt>
              </c:strCache>
            </c:strRef>
          </c:cat>
          <c:val>
            <c:numRef>
              <c:f>Sheet1!$C$2:$C$7</c:f>
              <c:numCache>
                <c:formatCode>General</c:formatCode>
                <c:ptCount val="6"/>
                <c:pt idx="4">
                  <c:v>0.510815446549958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2 CT</c:v>
                </c:pt>
                <c:pt idx="5">
                  <c:v>1 CT</c:v>
                </c:pt>
              </c:strCache>
            </c:strRef>
          </c:cat>
          <c:val>
            <c:numRef>
              <c:f>Sheet1!$D$2:$D$7</c:f>
              <c:numCache>
                <c:formatCode>General</c:formatCode>
                <c:ptCount val="6"/>
                <c:pt idx="4">
                  <c:v>0.2566529410480273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2 CT</c:v>
                </c:pt>
                <c:pt idx="5">
                  <c:v>1 CT</c:v>
                </c:pt>
              </c:strCache>
            </c:strRef>
          </c:cat>
          <c:val>
            <c:numRef>
              <c:f>Sheet1!$E$2:$E$7</c:f>
              <c:numCache>
                <c:formatCode>General</c:formatCode>
                <c:ptCount val="6"/>
                <c:pt idx="4">
                  <c:v>4.747313391154848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2 CT</c:v>
                </c:pt>
                <c:pt idx="5">
                  <c:v>1 CT</c:v>
                </c:pt>
              </c:strCache>
            </c:strRef>
          </c:cat>
          <c:val>
            <c:numRef>
              <c:f>Sheet1!$F$2:$F$7</c:f>
              <c:numCache>
                <c:formatCode>General</c:formatCode>
                <c:ptCount val="6"/>
                <c:pt idx="4">
                  <c:v>8.936354578353822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8.2437754753488194E-3</c:v>
                </c:pt>
                <c:pt idx="5">
                  <c:v>0.9917562245246511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5">
                  <c:v>2.9856549890294866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4558747077666366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3615137185894237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7.123252082954230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10310542078915814</c:v>
                </c:pt>
                <c:pt idx="5">
                  <c:v>8.243775475348819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1533981325019123</c:v>
                </c:pt>
                <c:pt idx="5">
                  <c:v>0.8846585819375171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4">
                  <c:v>1.5143223005763156E-7</c:v>
                </c:pt>
                <c:pt idx="5">
                  <c:v>0.2643024754196358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1.6636645811857004E-2</c:v>
                </c:pt>
                <c:pt idx="5">
                  <c:v>0.230308552901033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Kir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4">
                  <c:v>8.7165869008783035E-7</c:v>
                </c:pt>
                <c:pt idx="5">
                  <c:v>0.2016382193496997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9.8702092638847716E-2</c:v>
                </c:pt>
                <c:pt idx="5">
                  <c:v>8.654956014652812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10185977412062007</c:v>
                </c:pt>
                <c:pt idx="5">
                  <c:v>5.170856636114248E-8</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22360514585842806</c:v>
                </c:pt>
                <c:pt idx="5">
                  <c:v>0.7763948541415720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0107762532141101</c:v>
                </c:pt>
                <c:pt idx="5">
                  <c:v>0.8989223746785890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5">
                  <c:v>0.31949007768307819</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Kiri</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2226517664242014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4">
                  <c:v>3.0819103543476993E-2</c:v>
                </c:pt>
                <c:pt idx="5">
                  <c:v>0.2063087159845809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Ficello</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8.695976281886974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6.3512051767858679E-2</c:v>
                </c:pt>
                <c:pt idx="5">
                  <c:v>7.025852177793402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5.527246166012122E-3</c:v>
                </c:pt>
                <c:pt idx="5">
                  <c:v>0.9944624893157785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5">
                  <c:v>0.29608307297728548</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5.527246166012122E-3</c:v>
                </c:pt>
                <c:pt idx="5">
                  <c:v>0.2479867433878585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Kir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2152259190268123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0.1390489390964131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9.611781482740895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1286492465469</c:v>
                </c:pt>
                <c:pt idx="5">
                  <c:v>0.8871350753453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5">
                  <c:v>1.1968898780611883E-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2821982235694600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aysan Bret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333198684219459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0.11219357416096201</c:v>
                </c:pt>
                <c:pt idx="5">
                  <c:v>9.675313818017938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37486372548473673</c:v>
                </c:pt>
                <c:pt idx="5">
                  <c:v>6.7135049372799634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8.8802201039018147E-2</c:v>
                </c:pt>
                <c:pt idx="5">
                  <c:v>0.9111977989609817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5">
                  <c:v>3.0232792796173455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0.21612229879494099</c:v>
                </c:pt>
                <c:pt idx="5">
                  <c:v>0.1328849187643954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4">
                  <c:v>1.1925426017956352E-8</c:v>
                </c:pt>
                <c:pt idx="5">
                  <c:v>5.235172448682970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4.559173977151572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41752311896214023</c:v>
                </c:pt>
                <c:pt idx="5">
                  <c:v>0.1052933944985783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5">
                  <c:v>7.1482032968675183E-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2766061510200016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aysan Bret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437541747182613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Tartar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7.6307070194060759E-6</c:v>
                </c:pt>
                <c:pt idx="5">
                  <c:v>0.1120890101422729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37874774826011615</c:v>
                </c:pt>
                <c:pt idx="5">
                  <c:v>8.879457033199875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5.2290448026617344E-4</c:v>
                </c:pt>
                <c:pt idx="5">
                  <c:v>0.9994770955197339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3184108338929290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524131894943087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0.14742662594923719</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38122644618325879</c:v>
                </c:pt>
                <c:pt idx="5">
                  <c:v>5.2290448026617344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4.9485851657378082E-3</c:v>
                </c:pt>
                <c:pt idx="4">
                  <c:v>0.63359905021598295</c:v>
                </c:pt>
                <c:pt idx="5">
                  <c:v>0.3614515830689788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C$2:$C$7</c:f>
              <c:numCache>
                <c:formatCode>General</c:formatCode>
                <c:ptCount val="6"/>
                <c:pt idx="3">
                  <c:v>4.9465246317730947E-3</c:v>
                </c:pt>
                <c:pt idx="4">
                  <c:v>0.25140037918695474</c:v>
                </c:pt>
                <c:pt idx="5">
                  <c:v>0.3553823808012769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D$2:$D$7</c:f>
              <c:numCache>
                <c:formatCode>General</c:formatCode>
                <c:ptCount val="6"/>
                <c:pt idx="4">
                  <c:v>0.11970976570184601</c:v>
                </c:pt>
                <c:pt idx="5">
                  <c:v>1.1331058444685215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E$2:$E$7</c:f>
              <c:numCache>
                <c:formatCode>General</c:formatCode>
                <c:ptCount val="6"/>
                <c:pt idx="4">
                  <c:v>7.555777658610177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F$2:$F$7</c:f>
              <c:numCache>
                <c:formatCode>General</c:formatCode>
                <c:ptCount val="6"/>
                <c:pt idx="4">
                  <c:v>0.18693112874108042</c:v>
                </c:pt>
                <c:pt idx="5">
                  <c:v>4.936096423233397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38671233203280259</c:v>
                </c:pt>
                <c:pt idx="5">
                  <c:v>0.6132876679671974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0.37654256112059376</c:v>
                </c:pt>
                <c:pt idx="5">
                  <c:v>0.2053881294316009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4">
                  <c:v>1.6020774630234162E-3</c:v>
                </c:pt>
                <c:pt idx="5">
                  <c:v>0.1008546221214310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7.95447380362784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11170077627067319</c:v>
                </c:pt>
                <c:pt idx="5">
                  <c:v>0.1243670955563991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4.2630019579669921E-2</c:v>
                </c:pt>
                <c:pt idx="4">
                  <c:v>0.94534740709039811</c:v>
                </c:pt>
                <c:pt idx="5">
                  <c:v>1.202257332993187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C$2:$C$7</c:f>
              <c:numCache>
                <c:formatCode>General</c:formatCode>
                <c:ptCount val="6"/>
                <c:pt idx="3">
                  <c:v>4.2613819186359557E-2</c:v>
                </c:pt>
                <c:pt idx="4">
                  <c:v>0.5293099527584639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D$2:$D$7</c:f>
              <c:numCache>
                <c:formatCode>General</c:formatCode>
                <c:ptCount val="6"/>
                <c:pt idx="4">
                  <c:v>0.18834456716715239</c:v>
                </c:pt>
                <c:pt idx="5">
                  <c:v>1.957462002563930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E$2:$E$7</c:f>
              <c:numCache>
                <c:formatCode>General</c:formatCode>
                <c:ptCount val="6"/>
                <c:pt idx="4">
                  <c:v>8.504208726160630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F$2:$F$7</c:f>
              <c:numCache>
                <c:formatCode>General</c:formatCode>
                <c:ptCount val="6"/>
                <c:pt idx="3">
                  <c:v>1.6200393310363201E-5</c:v>
                </c:pt>
                <c:pt idx="4">
                  <c:v>1.0065111327367945E-2</c:v>
                </c:pt>
                <c:pt idx="5">
                  <c:v>0.14265079990317558</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9985833846807941</c:v>
                </c:pt>
                <c:pt idx="5">
                  <c:v>0.8001416615319205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0.19849834872509176</c:v>
                </c:pt>
                <c:pt idx="5">
                  <c:v>0.1769826066773384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569704098628917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7.3073276928468055E-4</c:v>
                </c:pt>
                <c:pt idx="5">
                  <c:v>0.139292719148838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32689592584285165</c:v>
                </c:pt>
                <c:pt idx="5">
                  <c:v>6.292569737029655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9227588933920739</c:v>
                </c:pt>
                <c:pt idx="5">
                  <c:v>0.8077241106607926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0.19204702741204641</c:v>
                </c:pt>
                <c:pt idx="5">
                  <c:v>0.1305726661208932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656137217451449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4.5820242129534651E-8</c:v>
                </c:pt>
                <c:pt idx="5">
                  <c:v>0.1540933011829325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35744442161182183</c:v>
                </c:pt>
                <c:pt idx="5">
                  <c:v>2.2881610691886727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2.4238281095927957E-2</c:v>
                </c:pt>
                <c:pt idx="4">
                  <c:v>0.97034686696433581</c:v>
                </c:pt>
                <c:pt idx="5">
                  <c:v>5.4133670886693953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3.8244891540046844E-3</c:v>
                </c:pt>
                <c:pt idx="5">
                  <c:v>0.9961755108459954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2923501753186036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827678452981572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0.18008121878563141</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34097627144360304</c:v>
                </c:pt>
                <c:pt idx="5">
                  <c:v>3.824489154004684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1.0855829499012922E-2</c:v>
                </c:pt>
                <c:pt idx="4">
                  <c:v>0.24259229843028043</c:v>
                </c:pt>
                <c:pt idx="5">
                  <c:v>0.746551806581298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2480421206224596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3">
                  <c:v>1.0855829499012922E-2</c:v>
                </c:pt>
                <c:pt idx="4">
                  <c:v>0.23893125269644916</c:v>
                </c:pt>
                <c:pt idx="5">
                  <c:v>0.2016823317042624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1.2010510323445093E-6</c:v>
                </c:pt>
                <c:pt idx="5">
                  <c:v>7.619211475547366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6.9527093347492755E-2</c:v>
                </c:pt>
                <c:pt idx="5">
                  <c:v>0.154767990834408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25172661377136546</c:v>
                </c:pt>
                <c:pt idx="5">
                  <c:v>0.7482733862286344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2573461894820194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4">
                  <c:v>0.24876048164253012</c:v>
                </c:pt>
                <c:pt idx="5">
                  <c:v>0.1652542179876489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6.648848099057147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8.4700070188320903E-2</c:v>
                </c:pt>
                <c:pt idx="5">
                  <c:v>0.17745055970890908</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8.7918969877060174E-2</c:v>
                </c:pt>
                <c:pt idx="4">
                  <c:v>0.90854508832710135</c:v>
                </c:pt>
                <c:pt idx="5">
                  <c:v>3.5352147386211634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B$2:$B$7</c:f>
              <c:numCache>
                <c:formatCode>General</c:formatCode>
                <c:ptCount val="6"/>
                <c:pt idx="4">
                  <c:v>2.990516303180486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C$2:$C$7</c:f>
              <c:numCache>
                <c:formatCode>General</c:formatCode>
                <c:ptCount val="6"/>
                <c:pt idx="3">
                  <c:v>2.4234822818677237E-2</c:v>
                </c:pt>
                <c:pt idx="4">
                  <c:v>0.3059885137172341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D$2:$D$7</c:f>
              <c:numCache>
                <c:formatCode>General</c:formatCode>
                <c:ptCount val="6"/>
                <c:pt idx="4">
                  <c:v>6.829238651639295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E$2:$E$7</c:f>
              <c:numCache>
                <c:formatCode>General</c:formatCode>
                <c:ptCount val="6"/>
                <c:pt idx="4">
                  <c:v>5.758097519235154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F$2:$F$7</c:f>
              <c:numCache>
                <c:formatCode>General</c:formatCode>
                <c:ptCount val="6"/>
                <c:pt idx="3">
                  <c:v>3.4582772507200774E-6</c:v>
                </c:pt>
                <c:pt idx="4">
                  <c:v>5.4133670886693953E-3</c:v>
                </c:pt>
                <c:pt idx="5">
                  <c:v>0.5085798285065522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C$2:$C$7</c:f>
              <c:numCache>
                <c:formatCode>General</c:formatCode>
                <c:ptCount val="6"/>
                <c:pt idx="4">
                  <c:v>0.3344183383218378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D$2:$D$7</c:f>
              <c:numCache>
                <c:formatCode>General</c:formatCode>
                <c:ptCount val="6"/>
                <c:pt idx="3">
                  <c:v>8.7918969877060174E-2</c:v>
                </c:pt>
                <c:pt idx="4">
                  <c:v>0.3310061174291317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E$2:$E$7</c:f>
              <c:numCache>
                <c:formatCode>General</c:formatCode>
                <c:ptCount val="6"/>
                <c:pt idx="4">
                  <c:v>0.10359458602901998</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F$2:$F$7</c:f>
              <c:numCache>
                <c:formatCode>General</c:formatCode>
                <c:ptCount val="6"/>
                <c:pt idx="4">
                  <c:v>0.13952604654711187</c:v>
                </c:pt>
                <c:pt idx="5">
                  <c:v>3.535214738621163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9141106374541705</c:v>
                </c:pt>
                <c:pt idx="5">
                  <c:v>0.8085889362545829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0.18938433880522237</c:v>
                </c:pt>
                <c:pt idx="5">
                  <c:v>0.1645118681716236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ou Pera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843897366579740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ta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5.6932347279614364E-7</c:v>
                </c:pt>
                <c:pt idx="5">
                  <c:v>0.1810347982256440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27865253319934125</c:v>
                </c:pt>
                <c:pt idx="5">
                  <c:v>2.0261556167218927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4462563881756466</c:v>
                </c:pt>
                <c:pt idx="5">
                  <c:v>0.8553743611824354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ou Perac</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1988531941370065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861340303796392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0.13529367448761992</c:v>
                </c:pt>
                <c:pt idx="5">
                  <c:v>8.561712834784804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2354317693677018</c:v>
                </c:pt>
                <c:pt idx="5">
                  <c:v>0.158670203280184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2 CT</c:v>
                </c:pt>
                <c:pt idx="5">
                  <c:v>1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2 CT</c:v>
                </c:pt>
                <c:pt idx="5">
                  <c:v>1 CT</c:v>
                </c:pt>
              </c:strCache>
            </c:strRef>
          </c:cat>
          <c:val>
            <c:numRef>
              <c:f>Sheet1!$C$2:$C$7</c:f>
              <c:numCache>
                <c:formatCode>General</c:formatCode>
                <c:ptCount val="6"/>
                <c:pt idx="4">
                  <c:v>0.2903103245019663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2 CT</c:v>
                </c:pt>
                <c:pt idx="5">
                  <c:v>1 CT</c:v>
                </c:pt>
              </c:strCache>
            </c:strRef>
          </c:cat>
          <c:val>
            <c:numRef>
              <c:f>Sheet1!$D$2:$D$7</c:f>
              <c:numCache>
                <c:formatCode>General</c:formatCode>
                <c:ptCount val="6"/>
                <c:pt idx="4">
                  <c:v>0.2676124875882950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2 CT</c:v>
                </c:pt>
                <c:pt idx="5">
                  <c:v>1 CT</c:v>
                </c:pt>
              </c:strCache>
            </c:strRef>
          </c:cat>
          <c:val>
            <c:numRef>
              <c:f>Sheet1!$E$2:$E$7</c:f>
              <c:numCache>
                <c:formatCode>General</c:formatCode>
                <c:ptCount val="6"/>
                <c:pt idx="4">
                  <c:v>0.1942132287600209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2 CT</c:v>
                </c:pt>
                <c:pt idx="5">
                  <c:v>1 CT</c:v>
                </c:pt>
              </c:strCache>
            </c:strRef>
          </c:cat>
          <c:val>
            <c:numRef>
              <c:f>Sheet1!$F$2:$F$7</c:f>
              <c:numCache>
                <c:formatCode>General</c:formatCode>
                <c:ptCount val="6"/>
                <c:pt idx="4">
                  <c:v>0.2478639591497175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1.9393742294192759E-3</c:v>
                </c:pt>
                <c:pt idx="4">
                  <c:v>0.998002207701053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C$2:$C$7</c:f>
              <c:numCache>
                <c:formatCode>General</c:formatCode>
                <c:ptCount val="6"/>
                <c:pt idx="3">
                  <c:v>1.9393742294192759E-3</c:v>
                </c:pt>
                <c:pt idx="4">
                  <c:v>0.3789670546007875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D$2:$D$7</c:f>
              <c:numCache>
                <c:formatCode>General</c:formatCode>
                <c:ptCount val="6"/>
                <c:pt idx="4">
                  <c:v>0.1041158030710272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E$2:$E$7</c:f>
              <c:numCache>
                <c:formatCode>General</c:formatCode>
                <c:ptCount val="6"/>
                <c:pt idx="4">
                  <c:v>5.652035310234609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F$2:$F$7</c:f>
              <c:numCache>
                <c:formatCode>General</c:formatCode>
                <c:ptCount val="6"/>
                <c:pt idx="4">
                  <c:v>0.45839899692689245</c:v>
                </c:pt>
                <c:pt idx="5">
                  <c:v>5.8418069527306488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2 CT</c:v>
                </c:pt>
                <c:pt idx="5">
                  <c:v>1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2 CT</c:v>
                </c:pt>
                <c:pt idx="5">
                  <c:v>1 CT</c:v>
                </c:pt>
              </c:strCache>
            </c:strRef>
          </c:cat>
          <c:val>
            <c:numRef>
              <c:f>Sheet1!$C$2:$C$7</c:f>
              <c:numCache>
                <c:formatCode>General</c:formatCode>
                <c:ptCount val="6"/>
                <c:pt idx="4">
                  <c:v>0.3571419066151254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2 CT</c:v>
                </c:pt>
                <c:pt idx="5">
                  <c:v>1 CT</c:v>
                </c:pt>
              </c:strCache>
            </c:strRef>
          </c:cat>
          <c:val>
            <c:numRef>
              <c:f>Sheet1!$D$2:$D$7</c:f>
              <c:numCache>
                <c:formatCode>General</c:formatCode>
                <c:ptCount val="6"/>
                <c:pt idx="4">
                  <c:v>8.620002348077980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2 CT</c:v>
                </c:pt>
                <c:pt idx="5">
                  <c:v>1 CT</c:v>
                </c:pt>
              </c:strCache>
            </c:strRef>
          </c:cat>
          <c:val>
            <c:numRef>
              <c:f>Sheet1!$E$2:$E$7</c:f>
              <c:numCache>
                <c:formatCode>General</c:formatCode>
                <c:ptCount val="6"/>
                <c:pt idx="4">
                  <c:v>4.622761802262145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2 CT</c:v>
                </c:pt>
                <c:pt idx="5">
                  <c:v>1 CT</c:v>
                </c:pt>
              </c:strCache>
            </c:strRef>
          </c:cat>
          <c:val>
            <c:numRef>
              <c:f>Sheet1!$F$2:$F$7</c:f>
              <c:numCache>
                <c:formatCode>General</c:formatCode>
                <c:ptCount val="6"/>
                <c:pt idx="4">
                  <c:v>0.5104304518814732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7.9758331768185389E-3</c:v>
                </c:pt>
                <c:pt idx="4">
                  <c:v>0.991786175512010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C$2:$C$7</c:f>
              <c:numCache>
                <c:formatCode>General</c:formatCode>
                <c:ptCount val="6"/>
                <c:pt idx="3">
                  <c:v>7.9758331768185389E-3</c:v>
                </c:pt>
                <c:pt idx="4">
                  <c:v>0.4224816814445781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D$2:$D$7</c:f>
              <c:numCache>
                <c:formatCode>General</c:formatCode>
                <c:ptCount val="6"/>
                <c:pt idx="4">
                  <c:v>0.1178406771666120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E$2:$E$7</c:f>
              <c:numCache>
                <c:formatCode>General</c:formatCode>
                <c:ptCount val="6"/>
                <c:pt idx="4">
                  <c:v>7.018966102095532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F$2:$F$7</c:f>
              <c:numCache>
                <c:formatCode>General</c:formatCode>
                <c:ptCount val="6"/>
                <c:pt idx="4">
                  <c:v>0.38127415587986491</c:v>
                </c:pt>
                <c:pt idx="5">
                  <c:v>2.3799131117106321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995</c:v>
                </c:pt>
                <c:pt idx="5">
                  <c:v>5.0000000000000001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5.4451480847355184E-3</c:v>
                </c:pt>
                <c:pt idx="4">
                  <c:v>0.12870046545676861</c:v>
                </c:pt>
                <c:pt idx="5">
                  <c:v>0.8658500114004464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5.2056343329605625E-2</c:v>
                </c:pt>
                <c:pt idx="5">
                  <c:v>0.9479436566703942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5.4451480847355184E-3</c:v>
                </c:pt>
                <c:pt idx="4">
                  <c:v>0.12870046545676861</c:v>
                </c:pt>
                <c:pt idx="5">
                  <c:v>0.8658500114004464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4">
                  <c:v>6.6723751501025381E-5</c:v>
                </c:pt>
                <c:pt idx="5">
                  <c:v>1.317868255373474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3">
                  <c:v>5.4440544488559665E-3</c:v>
                </c:pt>
                <c:pt idx="4">
                  <c:v>0.12524048272511962</c:v>
                </c:pt>
                <c:pt idx="5">
                  <c:v>0.3266178918004843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4">
                  <c:v>1.1252589617241256E-4</c:v>
                </c:pt>
                <c:pt idx="5">
                  <c:v>5.666614109757550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2.737109713517606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3">
                  <c:v>5.2435865671665522E-6</c:v>
                </c:pt>
                <c:pt idx="4">
                  <c:v>3.2807330839755289E-3</c:v>
                </c:pt>
                <c:pt idx="5">
                  <c:v>0.4420161988134758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98870000000000002</c:v>
                </c:pt>
                <c:pt idx="5">
                  <c:v>1.1299999999999999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3984401396409954</c:v>
                </c:pt>
                <c:pt idx="5">
                  <c:v>0.8601559860359003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4">
                  <c:v>1.8024549621963216E-4</c:v>
                </c:pt>
                <c:pt idx="5">
                  <c:v>1.581047769360209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0.13423146736840527</c:v>
                </c:pt>
                <c:pt idx="5">
                  <c:v>0.2726357435332513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4">
                  <c:v>7.3497925649669908E-9</c:v>
                </c:pt>
                <c:pt idx="5">
                  <c:v>5.535406357842510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2.968241411580580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38828709699285646</c:v>
                </c:pt>
                <c:pt idx="5">
                  <c:v>0.1038184838716417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4.4999999999999997E-3</c:v>
                </c:pt>
                <c:pt idx="5">
                  <c:v>0.99550000000000005</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2.9789208205848974E-2</c:v>
                </c:pt>
                <c:pt idx="4">
                  <c:v>0.96665797841274659</c:v>
                </c:pt>
                <c:pt idx="5">
                  <c:v>3.5293358835349446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B$2:$B$7</c:f>
              <c:numCache>
                <c:formatCode>General</c:formatCode>
                <c:ptCount val="6"/>
                <c:pt idx="4">
                  <c:v>1.4702165071648154E-2</c:v>
                </c:pt>
                <c:pt idx="5">
                  <c:v>6.6999292334229401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C$2:$C$7</c:f>
              <c:numCache>
                <c:formatCode>General</c:formatCode>
                <c:ptCount val="6"/>
                <c:pt idx="3">
                  <c:v>2.9783414678698657E-2</c:v>
                </c:pt>
                <c:pt idx="4">
                  <c:v>0.4218542655283452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D$2:$D$7</c:f>
              <c:numCache>
                <c:formatCode>General</c:formatCode>
                <c:ptCount val="6"/>
                <c:pt idx="4">
                  <c:v>7.640248034127065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ntremo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E$2:$E$7</c:f>
              <c:numCache>
                <c:formatCode>General</c:formatCode>
                <c:ptCount val="6"/>
                <c:pt idx="4">
                  <c:v>4.709731656839005E-2</c:v>
                </c:pt>
                <c:pt idx="5">
                  <c:v>6.746325765544059E-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F$2:$F$7</c:f>
              <c:numCache>
                <c:formatCode>General</c:formatCode>
                <c:ptCount val="6"/>
                <c:pt idx="2">
                  <c:v>2.2870719333027669E-5</c:v>
                </c:pt>
                <c:pt idx="3">
                  <c:v>5.7935271503155614E-6</c:v>
                </c:pt>
                <c:pt idx="4">
                  <c:v>3.3948733335452748E-3</c:v>
                </c:pt>
                <c:pt idx="5">
                  <c:v>0.4066017509030925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3.7000000000000002E-3</c:v>
                </c:pt>
                <c:pt idx="5">
                  <c:v>0.99629999999999996</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3.1597009283891027E-3</c:v>
                </c:pt>
                <c:pt idx="4">
                  <c:v>0.77431463134237177</c:v>
                </c:pt>
                <c:pt idx="5">
                  <c:v>0.2225252735613500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1.8192671495240512E-2</c:v>
                </c:pt>
                <c:pt idx="5">
                  <c:v>0.5855841006929293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451477701234958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7.3340075682900804E-4</c:v>
                </c:pt>
                <c:pt idx="5">
                  <c:v>8.643750143114342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13077428442282568</c:v>
                </c:pt>
                <c:pt idx="5">
                  <c:v>3.313027107753610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B$2:$B$7</c:f>
              <c:numCache>
                <c:formatCode>General</c:formatCode>
                <c:ptCount val="6"/>
                <c:pt idx="4">
                  <c:v>1.8347477338156792E-2</c:v>
                </c:pt>
                <c:pt idx="5">
                  <c:v>6.8875095034413004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C$2:$C$7</c:f>
              <c:numCache>
                <c:formatCode>General</c:formatCode>
                <c:ptCount val="6"/>
                <c:pt idx="3">
                  <c:v>3.159209232102275E-3</c:v>
                </c:pt>
                <c:pt idx="4">
                  <c:v>0.17566290999614273</c:v>
                </c:pt>
                <c:pt idx="5">
                  <c:v>0.2177923519600419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D$2:$D$7</c:f>
              <c:numCache>
                <c:formatCode>General</c:formatCode>
                <c:ptCount val="6"/>
                <c:pt idx="4">
                  <c:v>5.182131499894177E-2</c:v>
                </c:pt>
                <c:pt idx="5">
                  <c:v>1.9703529298035544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E$2:$E$7</c:f>
              <c:numCache>
                <c:formatCode>General</c:formatCode>
                <c:ptCount val="6"/>
                <c:pt idx="4">
                  <c:v>4.5214052332739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F$2:$F$7</c:f>
              <c:numCache>
                <c:formatCode>General</c:formatCode>
                <c:ptCount val="6"/>
                <c:pt idx="4">
                  <c:v>0.48326887667639096</c:v>
                </c:pt>
                <c:pt idx="5">
                  <c:v>4.4670112132932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99219999999999997</c:v>
                </c:pt>
                <c:pt idx="5">
                  <c:v>7.7999999999999996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22360514585842806</c:v>
                </c:pt>
                <c:pt idx="5">
                  <c:v>0.7763948541415720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4">
                  <c:v>1.5944559595474709E-4</c:v>
                </c:pt>
                <c:pt idx="5">
                  <c:v>2.0253567153306201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0.21612229879494099</c:v>
                </c:pt>
                <c:pt idx="5">
                  <c:v>0.1328849187643954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4">
                  <c:v>1.1925426017956352E-8</c:v>
                </c:pt>
                <c:pt idx="5">
                  <c:v>5.235172448682970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4.559173977151572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42750234460500747</c:v>
                </c:pt>
                <c:pt idx="5">
                  <c:v>0.1051339489026236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2.8999999999999998E-3</c:v>
                </c:pt>
                <c:pt idx="5">
                  <c:v>0.9970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2.4238281095927957E-2</c:v>
                </c:pt>
                <c:pt idx="4">
                  <c:v>0.97034686696433581</c:v>
                </c:pt>
                <c:pt idx="5">
                  <c:v>5.4133670886693953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B$2:$B$7</c:f>
              <c:numCache>
                <c:formatCode>General</c:formatCode>
                <c:ptCount val="6"/>
                <c:pt idx="4">
                  <c:v>2.7394691949885329E-2</c:v>
                </c:pt>
                <c:pt idx="5">
                  <c:v>7.9994177853760345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C$2:$C$7</c:f>
              <c:numCache>
                <c:formatCode>General</c:formatCode>
                <c:ptCount val="6"/>
                <c:pt idx="3">
                  <c:v>2.4234822818677237E-2</c:v>
                </c:pt>
                <c:pt idx="4">
                  <c:v>0.3059885137172341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D$2:$D$7</c:f>
              <c:numCache>
                <c:formatCode>General</c:formatCode>
                <c:ptCount val="6"/>
                <c:pt idx="4">
                  <c:v>6.829238651639295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E$2:$E$7</c:f>
              <c:numCache>
                <c:formatCode>General</c:formatCode>
                <c:ptCount val="6"/>
                <c:pt idx="4">
                  <c:v>5.758097519235154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F$2:$F$7</c:f>
              <c:numCache>
                <c:formatCode>General</c:formatCode>
                <c:ptCount val="6"/>
                <c:pt idx="3">
                  <c:v>3.4582772507200774E-6</c:v>
                </c:pt>
                <c:pt idx="4">
                  <c:v>5.333372910815635E-3</c:v>
                </c:pt>
                <c:pt idx="5">
                  <c:v>0.5110902995884717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99160000000000004</c:v>
                </c:pt>
                <c:pt idx="5">
                  <c:v>8.3999999999999995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5.2056343329605625E-2</c:v>
                </c:pt>
                <c:pt idx="5">
                  <c:v>0.9479436566703942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4">
                  <c:v>7.3340075682900804E-4</c:v>
                </c:pt>
                <c:pt idx="5">
                  <c:v>8.643750143114342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1.8192671495240512E-2</c:v>
                </c:pt>
                <c:pt idx="5">
                  <c:v>0.5855841006929293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451477701234958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4.841081797505316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8.2363466447772524E-2</c:v>
                </c:pt>
                <c:pt idx="5">
                  <c:v>3.313027107753610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98580000000000001</c:v>
                </c:pt>
                <c:pt idx="5">
                  <c:v>1.4200000000000001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5.9487844102859788E-2</c:v>
                </c:pt>
                <c:pt idx="5">
                  <c:v>0.9405121558971402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4">
                  <c:v>1.3558621545661643E-3</c:v>
                </c:pt>
                <c:pt idx="5">
                  <c:v>9.3832350898946801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1.7951669769388317E-2</c:v>
                </c:pt>
                <c:pt idx="5">
                  <c:v>0.5935446195241822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478521218277793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3.2708091999639796E-2</c:v>
                </c:pt>
                <c:pt idx="5">
                  <c:v>2.255262961900692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8.2730434027224908E-2</c:v>
                </c:pt>
                <c:pt idx="5">
                  <c:v>7.4722201792655069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98870000000000002</c:v>
                </c:pt>
                <c:pt idx="5">
                  <c:v>1.1299999999999999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7423533038835943E-2</c:v>
                </c:pt>
                <c:pt idx="5">
                  <c:v>0.9825764669611640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4">
                  <c:v>1.2662711277150168E-3</c:v>
                </c:pt>
                <c:pt idx="5">
                  <c:v>0.11085873447412328</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1.6018569703900136E-2</c:v>
                </c:pt>
                <c:pt idx="5">
                  <c:v>0.5942142929124348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240487593445808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6.997631533588884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8.3478364894136195E-2</c:v>
                </c:pt>
                <c:pt idx="5">
                  <c:v>1.3869220722078989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2.0730484529548742E-3</c:v>
                </c:pt>
                <c:pt idx="5">
                  <c:v>0.9979269515470452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5">
                  <c:v>1.845076886025688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5497299349588573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24340853554888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6.10057270324376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12533198514660421</c:v>
                </c:pt>
                <c:pt idx="5">
                  <c:v>2.073048452954874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5.9487844102859788E-2</c:v>
                </c:pt>
                <c:pt idx="5">
                  <c:v>0.9405121558971402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2 CT</c:v>
                </c:pt>
                <c:pt idx="5">
                  <c:v>1 CT</c:v>
                </c:pt>
              </c:strCache>
            </c:strRef>
          </c:cat>
          <c:val>
            <c:numRef>
              <c:f>Sheet1!$B$2:$B$7</c:f>
              <c:numCache>
                <c:formatCode>General</c:formatCode>
                <c:ptCount val="6"/>
                <c:pt idx="4">
                  <c:v>2.189711187394342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2 CT</c:v>
                </c:pt>
                <c:pt idx="5">
                  <c:v>1 CT</c:v>
                </c:pt>
              </c:strCache>
            </c:strRef>
          </c:cat>
          <c:val>
            <c:numRef>
              <c:f>Sheet1!$C$2:$C$7</c:f>
              <c:numCache>
                <c:formatCode>General</c:formatCode>
                <c:ptCount val="6"/>
                <c:pt idx="4">
                  <c:v>0.510815446549958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2 CT</c:v>
                </c:pt>
                <c:pt idx="5">
                  <c:v>1 CT</c:v>
                </c:pt>
              </c:strCache>
            </c:strRef>
          </c:cat>
          <c:val>
            <c:numRef>
              <c:f>Sheet1!$D$2:$D$7</c:f>
              <c:numCache>
                <c:formatCode>General</c:formatCode>
                <c:ptCount val="6"/>
                <c:pt idx="4">
                  <c:v>0.2566529410480273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Vache Qui Ri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2 CT</c:v>
                </c:pt>
                <c:pt idx="5">
                  <c:v>1 CT</c:v>
                </c:pt>
              </c:strCache>
            </c:strRef>
          </c:cat>
          <c:val>
            <c:numRef>
              <c:f>Sheet1!$E$2:$E$7</c:f>
              <c:numCache>
                <c:formatCode>General</c:formatCode>
                <c:ptCount val="6"/>
                <c:pt idx="4">
                  <c:v>9.569493270692720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2 CT</c:v>
                </c:pt>
                <c:pt idx="5">
                  <c:v>1 CT</c:v>
                </c:pt>
              </c:strCache>
            </c:strRef>
          </c:cat>
          <c:val>
            <c:numRef>
              <c:f>Sheet1!$F$2:$F$7</c:f>
              <c:numCache>
                <c:formatCode>General</c:formatCode>
                <c:ptCount val="6"/>
                <c:pt idx="4">
                  <c:v>0.1149395678211432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8.2437754753488194E-3</c:v>
                </c:pt>
                <c:pt idx="5">
                  <c:v>0.9917562245246511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5">
                  <c:v>2.006187522339349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4558747077666366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3615137185894237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7.123252082954230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8.3073402115654935E-2</c:v>
                </c:pt>
                <c:pt idx="5">
                  <c:v>8.243775475348819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1533981325019123</c:v>
                </c:pt>
                <c:pt idx="5">
                  <c:v>0.8846585819375171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1.5143223005763156E-7</c:v>
                </c:pt>
                <c:pt idx="5">
                  <c:v>0.2643024754196358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4">
                  <c:v>1.6636645811857004E-2</c:v>
                </c:pt>
                <c:pt idx="5">
                  <c:v>0.230308552901033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Kir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8.7165869008783035E-7</c:v>
                </c:pt>
                <c:pt idx="5">
                  <c:v>0.2016382193496997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18840933426714818</c:v>
                </c:pt>
                <c:pt idx="5">
                  <c:v>9.870214434741407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0107762532141101</c:v>
                </c:pt>
                <c:pt idx="5">
                  <c:v>0.8989223746785890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1.7951669769388317E-2</c:v>
                </c:pt>
                <c:pt idx="5">
                  <c:v>0.5935446195241822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478521218277793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1.3558621545661643E-3</c:v>
                </c:pt>
                <c:pt idx="5">
                  <c:v>9.383235089894680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10528306364623184</c:v>
                </c:pt>
                <c:pt idx="5">
                  <c:v>4.018031217890530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3194900776830781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Kir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2226517664242014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Mini Baby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3.0819103543476993E-2</c:v>
                </c:pt>
                <c:pt idx="5">
                  <c:v>0.2063087159845809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15047181458672843</c:v>
                </c:pt>
                <c:pt idx="5">
                  <c:v>7.025852177793402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5.527246166012122E-3</c:v>
                </c:pt>
                <c:pt idx="5">
                  <c:v>0.9944624893157785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2960830729772854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4">
                  <c:v>5.527246166012122E-3</c:v>
                </c:pt>
                <c:pt idx="5">
                  <c:v>0.2479867433878585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Kir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0.2152259190268123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2351667539238221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1286492465469</c:v>
                </c:pt>
                <c:pt idx="5">
                  <c:v>0.8871350753453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5">
                  <c:v>0.1045684670247308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2821982235694600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aysan Bret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333198684219459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0.11219357416096201</c:v>
                </c:pt>
                <c:pt idx="5">
                  <c:v>9.675313818017938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27029537814899368</c:v>
                </c:pt>
                <c:pt idx="5">
                  <c:v>6.7135049372799634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8.8802201039018147E-2</c:v>
                </c:pt>
                <c:pt idx="5">
                  <c:v>0.9111977989609817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5">
                  <c:v>0.10908758680096771</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2766061510200016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aysan Bret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437541747182613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Tartar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7.6307070194060759E-6</c:v>
                </c:pt>
                <c:pt idx="5">
                  <c:v>0.1120890101422729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26966087627947816</c:v>
                </c:pt>
                <c:pt idx="5">
                  <c:v>8.879457033199875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5.2290448026617344E-4</c:v>
                </c:pt>
                <c:pt idx="5">
                  <c:v>0.9994770955197339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5">
                  <c:v>0.14742662594923719</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3184108338929290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524131894943087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0.1274509338559564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25377551232730233</c:v>
                </c:pt>
                <c:pt idx="5">
                  <c:v>5.2290448026617344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2.58E-2</c:v>
                </c:pt>
                <c:pt idx="5">
                  <c:v>0.97419999999999995</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4.9485851657378082E-3</c:v>
                </c:pt>
                <c:pt idx="4">
                  <c:v>0.63359905021598295</c:v>
                </c:pt>
                <c:pt idx="5">
                  <c:v>0.3614515830689788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B$2:$B$7</c:f>
              <c:numCache>
                <c:formatCode>General</c:formatCode>
                <c:ptCount val="6"/>
                <c:pt idx="4">
                  <c:v>1.0915669711020806E-2</c:v>
                </c:pt>
                <c:pt idx="5">
                  <c:v>2.886323863801986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C$2:$C$7</c:f>
              <c:numCache>
                <c:formatCode>General</c:formatCode>
                <c:ptCount val="6"/>
                <c:pt idx="3">
                  <c:v>4.9465246317730947E-3</c:v>
                </c:pt>
                <c:pt idx="4">
                  <c:v>0.25140037918695474</c:v>
                </c:pt>
                <c:pt idx="5">
                  <c:v>0.3553823808012769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D$2:$D$7</c:f>
              <c:numCache>
                <c:formatCode>General</c:formatCode>
                <c:ptCount val="6"/>
                <c:pt idx="4">
                  <c:v>0.11970976570184601</c:v>
                </c:pt>
                <c:pt idx="5">
                  <c:v>1.1331058444685215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E$2:$E$7</c:f>
              <c:numCache>
                <c:formatCode>General</c:formatCode>
                <c:ptCount val="6"/>
                <c:pt idx="4">
                  <c:v>7.555777658610177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F$2:$F$7</c:f>
              <c:numCache>
                <c:formatCode>General</c:formatCode>
                <c:ptCount val="6"/>
                <c:pt idx="4">
                  <c:v>0.17601545903005961</c:v>
                </c:pt>
                <c:pt idx="5">
                  <c:v>4.64746403685319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96240000000000003</c:v>
                </c:pt>
                <c:pt idx="5">
                  <c:v>3.7600000000000001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38671233203280259</c:v>
                </c:pt>
                <c:pt idx="5">
                  <c:v>0.6132876679671974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4">
                  <c:v>6.2881405862937035E-4</c:v>
                </c:pt>
                <c:pt idx="5">
                  <c:v>1.60767048638337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0.37654256112059376</c:v>
                </c:pt>
                <c:pt idx="5">
                  <c:v>0.2053881294316009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4">
                  <c:v>1.6020774630234162E-3</c:v>
                </c:pt>
                <c:pt idx="5">
                  <c:v>0.1008546221214310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7.95447380362784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9.56240714068394E-2</c:v>
                </c:pt>
                <c:pt idx="5">
                  <c:v>0.1237382814977697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2.5600000000000001E-2</c:v>
                </c:pt>
                <c:pt idx="5">
                  <c:v>0.9744000000000000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7423533038835943E-2</c:v>
                </c:pt>
                <c:pt idx="5">
                  <c:v>0.9825764669611640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4.2630019579669921E-2</c:v>
                </c:pt>
                <c:pt idx="4">
                  <c:v>0.94534740709039811</c:v>
                </c:pt>
                <c:pt idx="5">
                  <c:v>1.202257332993187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B$2:$B$7</c:f>
              <c:numCache>
                <c:formatCode>General</c:formatCode>
                <c:ptCount val="6"/>
                <c:pt idx="4">
                  <c:v>1.4239974674932673E-2</c:v>
                </c:pt>
                <c:pt idx="5">
                  <c:v>3.7473488960441937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C$2:$C$7</c:f>
              <c:numCache>
                <c:formatCode>General</c:formatCode>
                <c:ptCount val="6"/>
                <c:pt idx="3">
                  <c:v>4.2613819186359557E-2</c:v>
                </c:pt>
                <c:pt idx="4">
                  <c:v>0.5293099527584639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D$2:$D$7</c:f>
              <c:numCache>
                <c:formatCode>General</c:formatCode>
                <c:ptCount val="6"/>
                <c:pt idx="4">
                  <c:v>0.18834456716715239</c:v>
                </c:pt>
                <c:pt idx="5">
                  <c:v>1.957462002563930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E$2:$E$7</c:f>
              <c:numCache>
                <c:formatCode>General</c:formatCode>
                <c:ptCount val="6"/>
                <c:pt idx="4">
                  <c:v>8.504208726160630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F$2:$F$7</c:f>
              <c:numCache>
                <c:formatCode>General</c:formatCode>
                <c:ptCount val="6"/>
                <c:pt idx="3">
                  <c:v>1.6200393310363201E-5</c:v>
                </c:pt>
                <c:pt idx="4">
                  <c:v>9.6903764377635256E-3</c:v>
                </c:pt>
                <c:pt idx="5">
                  <c:v>0.128410825228242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9985833846807941</c:v>
                </c:pt>
                <c:pt idx="5">
                  <c:v>0.8001416615319205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0.19849834872509176</c:v>
                </c:pt>
                <c:pt idx="5">
                  <c:v>0.1769826066773384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569704098628917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7.3073276928468055E-4</c:v>
                </c:pt>
                <c:pt idx="5">
                  <c:v>0.139292719148838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32689592584285165</c:v>
                </c:pt>
                <c:pt idx="5">
                  <c:v>6.292569737029655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9227588933920739</c:v>
                </c:pt>
                <c:pt idx="5">
                  <c:v>0.8077241106607926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0.19204702741204641</c:v>
                </c:pt>
                <c:pt idx="5">
                  <c:v>0.1305726661208932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656137217451449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4.5820242129534651E-8</c:v>
                </c:pt>
                <c:pt idx="5">
                  <c:v>0.1540933011829325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35744442161182183</c:v>
                </c:pt>
                <c:pt idx="5">
                  <c:v>2.2881610691886727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3.8244891540046844E-3</c:v>
                </c:pt>
                <c:pt idx="5">
                  <c:v>0.9961755108459954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1.6018569703900136E-2</c:v>
                </c:pt>
                <c:pt idx="5">
                  <c:v>0.5942142929124348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240487593445808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1.2662711277150168E-3</c:v>
                </c:pt>
                <c:pt idx="5">
                  <c:v>0.11085873447412328</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15345468023002504</c:v>
                </c:pt>
                <c:pt idx="5">
                  <c:v>1.3869220722078989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2923501753186036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827678452981572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0.18008121878563141</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34097627144360304</c:v>
                </c:pt>
                <c:pt idx="5">
                  <c:v>3.824489154004684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1.0855829499012922E-2</c:v>
                </c:pt>
                <c:pt idx="4">
                  <c:v>0.24259229843028043</c:v>
                </c:pt>
                <c:pt idx="5">
                  <c:v>0.746551806581298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2480421206224596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3">
                  <c:v>1.0855829499012922E-2</c:v>
                </c:pt>
                <c:pt idx="4">
                  <c:v>0.23893125269644916</c:v>
                </c:pt>
                <c:pt idx="5">
                  <c:v>0.2016823317042624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1.2010510323445093E-6</c:v>
                </c:pt>
                <c:pt idx="5">
                  <c:v>7.619211475547366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6.9527093347492755E-2</c:v>
                </c:pt>
                <c:pt idx="5">
                  <c:v>0.154767990834408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25172661377136546</c:v>
                </c:pt>
                <c:pt idx="5">
                  <c:v>0.7482733862286344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2573461894820194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4">
                  <c:v>0.24876048164253012</c:v>
                </c:pt>
                <c:pt idx="5">
                  <c:v>0.1652542179876489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6.648848099057147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8.4700070188320903E-2</c:v>
                </c:pt>
                <c:pt idx="5">
                  <c:v>0.17745055970890908</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8.7918969877060174E-2</c:v>
                </c:pt>
                <c:pt idx="4">
                  <c:v>0.90854508832710135</c:v>
                </c:pt>
                <c:pt idx="5">
                  <c:v>3.5352147386211634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C$2:$C$7</c:f>
              <c:numCache>
                <c:formatCode>General</c:formatCode>
                <c:ptCount val="6"/>
                <c:pt idx="4">
                  <c:v>0.3344183383218378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D$2:$D$7</c:f>
              <c:numCache>
                <c:formatCode>General</c:formatCode>
                <c:ptCount val="6"/>
                <c:pt idx="3">
                  <c:v>8.7918969877060174E-2</c:v>
                </c:pt>
                <c:pt idx="4">
                  <c:v>0.3310061174291317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E$2:$E$7</c:f>
              <c:numCache>
                <c:formatCode>General</c:formatCode>
                <c:ptCount val="6"/>
                <c:pt idx="4">
                  <c:v>0.10359458602901998</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F$2:$F$7</c:f>
              <c:numCache>
                <c:formatCode>General</c:formatCode>
                <c:ptCount val="6"/>
                <c:pt idx="4">
                  <c:v>0.13952604654711187</c:v>
                </c:pt>
                <c:pt idx="5">
                  <c:v>3.535214738621163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9141106374541705</c:v>
                </c:pt>
                <c:pt idx="5">
                  <c:v>0.8085889362545829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0.18938433880522237</c:v>
                </c:pt>
                <c:pt idx="5">
                  <c:v>0.1645118681716236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ou Pera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843897366579740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ta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5.6932347279614364E-7</c:v>
                </c:pt>
                <c:pt idx="5">
                  <c:v>0.1810347982256440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27865253319934125</c:v>
                </c:pt>
                <c:pt idx="5">
                  <c:v>2.0261556167218927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4462563881756466</c:v>
                </c:pt>
                <c:pt idx="5">
                  <c:v>0.8553743611824354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ou Perac</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1988531941370065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861340303796392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0.13529367448761992</c:v>
                </c:pt>
                <c:pt idx="5">
                  <c:v>8.561712834784804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2354317693677018</c:v>
                </c:pt>
                <c:pt idx="5">
                  <c:v>0.158670203280184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2 CT</c:v>
                </c:pt>
                <c:pt idx="5">
                  <c:v>1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2 CT</c:v>
                </c:pt>
                <c:pt idx="5">
                  <c:v>1 CT</c:v>
                </c:pt>
              </c:strCache>
            </c:strRef>
          </c:cat>
          <c:val>
            <c:numRef>
              <c:f>Sheet1!$C$2:$C$7</c:f>
              <c:numCache>
                <c:formatCode>General</c:formatCode>
                <c:ptCount val="6"/>
                <c:pt idx="4">
                  <c:v>0.2903103245019663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2 CT</c:v>
                </c:pt>
                <c:pt idx="5">
                  <c:v>1 CT</c:v>
                </c:pt>
              </c:strCache>
            </c:strRef>
          </c:cat>
          <c:val>
            <c:numRef>
              <c:f>Sheet1!$D$2:$D$7</c:f>
              <c:numCache>
                <c:formatCode>General</c:formatCode>
                <c:ptCount val="6"/>
                <c:pt idx="4">
                  <c:v>0.2676124875882950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2 CT</c:v>
                </c:pt>
                <c:pt idx="5">
                  <c:v>1 CT</c:v>
                </c:pt>
              </c:strCache>
            </c:strRef>
          </c:cat>
          <c:val>
            <c:numRef>
              <c:f>Sheet1!$E$2:$E$7</c:f>
              <c:numCache>
                <c:formatCode>General</c:formatCode>
                <c:ptCount val="6"/>
                <c:pt idx="4">
                  <c:v>0.1942132287600209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2 CT</c:v>
                </c:pt>
                <c:pt idx="5">
                  <c:v>1 CT</c:v>
                </c:pt>
              </c:strCache>
            </c:strRef>
          </c:cat>
          <c:val>
            <c:numRef>
              <c:f>Sheet1!$F$2:$F$7</c:f>
              <c:numCache>
                <c:formatCode>General</c:formatCode>
                <c:ptCount val="6"/>
                <c:pt idx="4">
                  <c:v>0.2478639591497175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2.0730484529548742E-3</c:v>
                </c:pt>
                <c:pt idx="5">
                  <c:v>0.9979269515470452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1.9393742294192759E-3</c:v>
                </c:pt>
                <c:pt idx="4">
                  <c:v>0.998002207701053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C$2:$C$7</c:f>
              <c:numCache>
                <c:formatCode>General</c:formatCode>
                <c:ptCount val="6"/>
                <c:pt idx="3">
                  <c:v>1.9393742294192759E-3</c:v>
                </c:pt>
                <c:pt idx="4">
                  <c:v>0.3789670546007875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D$2:$D$7</c:f>
              <c:numCache>
                <c:formatCode>General</c:formatCode>
                <c:ptCount val="6"/>
                <c:pt idx="4">
                  <c:v>0.1041158030710272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E$2:$E$7</c:f>
              <c:numCache>
                <c:formatCode>General</c:formatCode>
                <c:ptCount val="6"/>
                <c:pt idx="4">
                  <c:v>5.652035310234609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F$2:$F$7</c:f>
              <c:numCache>
                <c:formatCode>General</c:formatCode>
                <c:ptCount val="6"/>
                <c:pt idx="4">
                  <c:v>0.45839899692689245</c:v>
                </c:pt>
                <c:pt idx="5">
                  <c:v>5.8418069527306488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2 CT</c:v>
                </c:pt>
                <c:pt idx="5">
                  <c:v>1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2 CT</c:v>
                </c:pt>
                <c:pt idx="5">
                  <c:v>1 CT</c:v>
                </c:pt>
              </c:strCache>
            </c:strRef>
          </c:cat>
          <c:val>
            <c:numRef>
              <c:f>Sheet1!$C$2:$C$7</c:f>
              <c:numCache>
                <c:formatCode>General</c:formatCode>
                <c:ptCount val="6"/>
                <c:pt idx="4">
                  <c:v>0.3571419066151254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2 CT</c:v>
                </c:pt>
                <c:pt idx="5">
                  <c:v>1 CT</c:v>
                </c:pt>
              </c:strCache>
            </c:strRef>
          </c:cat>
          <c:val>
            <c:numRef>
              <c:f>Sheet1!$D$2:$D$7</c:f>
              <c:numCache>
                <c:formatCode>General</c:formatCode>
                <c:ptCount val="6"/>
                <c:pt idx="4">
                  <c:v>8.620002348077980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2 CT</c:v>
                </c:pt>
                <c:pt idx="5">
                  <c:v>1 CT</c:v>
                </c:pt>
              </c:strCache>
            </c:strRef>
          </c:cat>
          <c:val>
            <c:numRef>
              <c:f>Sheet1!$E$2:$E$7</c:f>
              <c:numCache>
                <c:formatCode>General</c:formatCode>
                <c:ptCount val="6"/>
                <c:pt idx="4">
                  <c:v>4.622761802262145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2 CT</c:v>
                </c:pt>
                <c:pt idx="5">
                  <c:v>1 CT</c:v>
                </c:pt>
              </c:strCache>
            </c:strRef>
          </c:cat>
          <c:val>
            <c:numRef>
              <c:f>Sheet1!$F$2:$F$7</c:f>
              <c:numCache>
                <c:formatCode>General</c:formatCode>
                <c:ptCount val="6"/>
                <c:pt idx="4">
                  <c:v>0.5104304518814732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7.9758331768185389E-3</c:v>
                </c:pt>
                <c:pt idx="4">
                  <c:v>0.991786175512010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C$2:$C$7</c:f>
              <c:numCache>
                <c:formatCode>General</c:formatCode>
                <c:ptCount val="6"/>
                <c:pt idx="3">
                  <c:v>7.9758331768185389E-3</c:v>
                </c:pt>
                <c:pt idx="4">
                  <c:v>0.4224816814445781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D$2:$D$7</c:f>
              <c:numCache>
                <c:formatCode>General</c:formatCode>
                <c:ptCount val="6"/>
                <c:pt idx="4">
                  <c:v>0.1178406771666120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E$2:$E$7</c:f>
              <c:numCache>
                <c:formatCode>General</c:formatCode>
                <c:ptCount val="6"/>
                <c:pt idx="4">
                  <c:v>7.018966102095532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F$2:$F$7</c:f>
              <c:numCache>
                <c:formatCode>General</c:formatCode>
                <c:ptCount val="6"/>
                <c:pt idx="4">
                  <c:v>0.38127415587986491</c:v>
                </c:pt>
                <c:pt idx="5">
                  <c:v>2.3799131117106321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4">
                  <c:v>6.0714671271283804E-8</c:v>
                </c:pt>
                <c:pt idx="5">
                  <c:v>1.479643448858368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3">
                  <c:v>5.4440544488559665E-3</c:v>
                </c:pt>
                <c:pt idx="4">
                  <c:v>0.12524048272511962</c:v>
                </c:pt>
                <c:pt idx="5">
                  <c:v>0.3266178918004843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4">
                  <c:v>1.1252589617241256E-4</c:v>
                </c:pt>
                <c:pt idx="5">
                  <c:v>5.666614109757550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2.737109713517606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3">
                  <c:v>5.2435865671665522E-6</c:v>
                </c:pt>
                <c:pt idx="4">
                  <c:v>3.3473961208052828E-3</c:v>
                </c:pt>
                <c:pt idx="5">
                  <c:v>0.4403984468786268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5497299349588573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24340853554888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6.10057270324376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14378275400686108</c:v>
                </c:pt>
                <c:pt idx="5">
                  <c:v>2.073048452954874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2 CT</c:v>
                </c:pt>
                <c:pt idx="5">
                  <c:v>1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2 CT</c:v>
                </c:pt>
                <c:pt idx="5">
                  <c:v>1 CT</c:v>
                </c:pt>
              </c:strCache>
            </c:strRef>
          </c:cat>
          <c:val>
            <c:numRef>
              <c:f>Sheet1!$C$2:$C$7</c:f>
              <c:numCache>
                <c:formatCode>General</c:formatCode>
                <c:ptCount val="6"/>
                <c:pt idx="4">
                  <c:v>0.510815446549958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2 CT</c:v>
                </c:pt>
                <c:pt idx="5">
                  <c:v>1 CT</c:v>
                </c:pt>
              </c:strCache>
            </c:strRef>
          </c:cat>
          <c:val>
            <c:numRef>
              <c:f>Sheet1!$D$2:$D$7</c:f>
              <c:numCache>
                <c:formatCode>General</c:formatCode>
                <c:ptCount val="6"/>
                <c:pt idx="4">
                  <c:v>0.2566529410480273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Vache Qui Ri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2 CT</c:v>
                </c:pt>
                <c:pt idx="5">
                  <c:v>1 CT</c:v>
                </c:pt>
              </c:strCache>
            </c:strRef>
          </c:cat>
          <c:val>
            <c:numRef>
              <c:f>Sheet1!$E$2:$E$7</c:f>
              <c:numCache>
                <c:formatCode>General</c:formatCode>
                <c:ptCount val="6"/>
                <c:pt idx="4">
                  <c:v>9.569493270692720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2 CT</c:v>
                </c:pt>
                <c:pt idx="5">
                  <c:v>1 CT</c:v>
                </c:pt>
              </c:strCache>
            </c:strRef>
          </c:cat>
          <c:val>
            <c:numRef>
              <c:f>Sheet1!$F$2:$F$7</c:f>
              <c:numCache>
                <c:formatCode>General</c:formatCode>
                <c:ptCount val="6"/>
                <c:pt idx="4">
                  <c:v>0.136836679695086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8.2437754753488194E-3</c:v>
                </c:pt>
                <c:pt idx="5">
                  <c:v>0.9917562245246511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4558747077666366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3615137185894237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7.123252082954230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10313527733904844</c:v>
                </c:pt>
                <c:pt idx="5">
                  <c:v>8.243775475348819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1533981325019123</c:v>
                </c:pt>
                <c:pt idx="5">
                  <c:v>0.8846585819375171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4">
                  <c:v>8.7165869008783035E-7</c:v>
                </c:pt>
                <c:pt idx="5">
                  <c:v>0.2016382193496997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1.5143223005763156E-7</c:v>
                </c:pt>
                <c:pt idx="5">
                  <c:v>0.2643024754196358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4">
                  <c:v>1.6636645811857004E-2</c:v>
                </c:pt>
                <c:pt idx="5">
                  <c:v>0.230308552901033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9.8702092638847716E-2</c:v>
                </c:pt>
                <c:pt idx="5">
                  <c:v>8.654956014652812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10185977412062007</c:v>
                </c:pt>
                <c:pt idx="5">
                  <c:v>5.170856636114248E-8</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0107762532141101</c:v>
                </c:pt>
                <c:pt idx="5">
                  <c:v>0.8989223746785890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5">
                  <c:v>0.2226517664242014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3194900776830781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4">
                  <c:v>3.0819103543476993E-2</c:v>
                </c:pt>
                <c:pt idx="5">
                  <c:v>0.2063087159845809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Ficello</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8.695976281886974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6.3512051767858679E-2</c:v>
                </c:pt>
                <c:pt idx="5">
                  <c:v>7.025852177793402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5.527246166012122E-3</c:v>
                </c:pt>
                <c:pt idx="5">
                  <c:v>0.9944624893157785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5">
                  <c:v>0.2152259190268123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2960830729772854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4">
                  <c:v>5.527246166012122E-3</c:v>
                </c:pt>
                <c:pt idx="5">
                  <c:v>0.2479867433878585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0.1390489390964131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9.611781482740895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1286492465469</c:v>
                </c:pt>
                <c:pt idx="5">
                  <c:v>0.8871350753453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5">
                  <c:v>8.7404858213717077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2821982235694600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aysan Bret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333198684219459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0.11219357416096201</c:v>
                </c:pt>
                <c:pt idx="5">
                  <c:v>9.675313818017938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36612335935235285</c:v>
                </c:pt>
                <c:pt idx="5">
                  <c:v>6.7135049372799634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3984401396409954</c:v>
                </c:pt>
                <c:pt idx="5">
                  <c:v>0.8601559860359003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8.8802201039018147E-2</c:v>
                </c:pt>
                <c:pt idx="5">
                  <c:v>0.9111977989609817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5">
                  <c:v>1.4145454410613437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2766061510200016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aysan Bret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437541747182613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Tartar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7.6307070194060759E-6</c:v>
                </c:pt>
                <c:pt idx="5">
                  <c:v>0.1120890101422729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36460300866983242</c:v>
                </c:pt>
                <c:pt idx="5">
                  <c:v>8.879457033199875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5.2290448026617344E-4</c:v>
                </c:pt>
                <c:pt idx="5">
                  <c:v>0.9994770955197339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5">
                  <c:v>8.4490388731903645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3184108338929290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524131894943087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0.14742662594923719</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37277740731006848</c:v>
                </c:pt>
                <c:pt idx="5">
                  <c:v>5.2290448026617344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4.9485851657378082E-3</c:v>
                </c:pt>
                <c:pt idx="4">
                  <c:v>0.63359905021598295</c:v>
                </c:pt>
                <c:pt idx="5">
                  <c:v>0.3614515830689788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C$2:$C$7</c:f>
              <c:numCache>
                <c:formatCode>General</c:formatCode>
                <c:ptCount val="6"/>
                <c:pt idx="3">
                  <c:v>4.9465246317730947E-3</c:v>
                </c:pt>
                <c:pt idx="4">
                  <c:v>0.25140037918695474</c:v>
                </c:pt>
                <c:pt idx="5">
                  <c:v>0.3553823808012769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D$2:$D$7</c:f>
              <c:numCache>
                <c:formatCode>General</c:formatCode>
                <c:ptCount val="6"/>
                <c:pt idx="4">
                  <c:v>0.11970976570184601</c:v>
                </c:pt>
                <c:pt idx="5">
                  <c:v>1.1331058444685215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E$2:$E$7</c:f>
              <c:numCache>
                <c:formatCode>General</c:formatCode>
                <c:ptCount val="6"/>
                <c:pt idx="4">
                  <c:v>7.555777658610177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F$2:$F$7</c:f>
              <c:numCache>
                <c:formatCode>General</c:formatCode>
                <c:ptCount val="6"/>
                <c:pt idx="4">
                  <c:v>0.18693112874108042</c:v>
                </c:pt>
                <c:pt idx="5">
                  <c:v>4.936096423233397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38671233203280259</c:v>
                </c:pt>
                <c:pt idx="5">
                  <c:v>0.6132876679671974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pt idx="5">
                  <c:v>1.863285683688994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0.13423146736840527</c:v>
                </c:pt>
                <c:pt idx="5">
                  <c:v>0.2726357435332513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4">
                  <c:v>7.3497925649669908E-9</c:v>
                </c:pt>
                <c:pt idx="5">
                  <c:v>5.535406357842510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oign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2.968241411580580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38546471784956859</c:v>
                </c:pt>
                <c:pt idx="5">
                  <c:v>0.1039987293678613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0.37654256112059376</c:v>
                </c:pt>
                <c:pt idx="5">
                  <c:v>0.2053881294316009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4">
                  <c:v>1.6020774630234162E-3</c:v>
                </c:pt>
                <c:pt idx="5">
                  <c:v>0.1008546221214310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7.95447380362784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11170077627067319</c:v>
                </c:pt>
                <c:pt idx="5">
                  <c:v>0.1243670955563991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4.2630019579669921E-2</c:v>
                </c:pt>
                <c:pt idx="4">
                  <c:v>0.94534740709039811</c:v>
                </c:pt>
                <c:pt idx="5">
                  <c:v>1.202257332993187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C$2:$C$7</c:f>
              <c:numCache>
                <c:formatCode>General</c:formatCode>
                <c:ptCount val="6"/>
                <c:pt idx="3">
                  <c:v>4.2613819186359557E-2</c:v>
                </c:pt>
                <c:pt idx="4">
                  <c:v>0.5293099527584639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D$2:$D$7</c:f>
              <c:numCache>
                <c:formatCode>General</c:formatCode>
                <c:ptCount val="6"/>
                <c:pt idx="4">
                  <c:v>0.18834456716715239</c:v>
                </c:pt>
                <c:pt idx="5">
                  <c:v>1.957462002563930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E$2:$E$7</c:f>
              <c:numCache>
                <c:formatCode>General</c:formatCode>
                <c:ptCount val="6"/>
                <c:pt idx="4">
                  <c:v>8.504208726160630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F$2:$F$7</c:f>
              <c:numCache>
                <c:formatCode>General</c:formatCode>
                <c:ptCount val="6"/>
                <c:pt idx="3">
                  <c:v>1.6200393310363201E-5</c:v>
                </c:pt>
                <c:pt idx="4">
                  <c:v>1.0065111327367945E-2</c:v>
                </c:pt>
                <c:pt idx="5">
                  <c:v>0.14265079990317558</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9985833846807941</c:v>
                </c:pt>
                <c:pt idx="5">
                  <c:v>0.8001416615319205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0.19849834872509176</c:v>
                </c:pt>
                <c:pt idx="5">
                  <c:v>0.1769826066773384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569704098628917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7.3073276928468055E-4</c:v>
                </c:pt>
                <c:pt idx="5">
                  <c:v>0.139292719148838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32689592584285165</c:v>
                </c:pt>
                <c:pt idx="5">
                  <c:v>6.292569737029655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9227588933920739</c:v>
                </c:pt>
                <c:pt idx="5">
                  <c:v>0.8077241106607926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0.19204702741204641</c:v>
                </c:pt>
                <c:pt idx="5">
                  <c:v>0.1305726661208932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656137217451449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4.5820242129534651E-8</c:v>
                </c:pt>
                <c:pt idx="5">
                  <c:v>0.1540933011829325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35744442161182183</c:v>
                </c:pt>
                <c:pt idx="5">
                  <c:v>2.2881610691886727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3.8244891540046844E-3</c:v>
                </c:pt>
                <c:pt idx="5">
                  <c:v>0.9961755108459954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2923501753186036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827678452981572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0.18008121878563141</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34097627144360304</c:v>
                </c:pt>
                <c:pt idx="5">
                  <c:v>3.824489154004684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1.0855829499012922E-2</c:v>
                </c:pt>
                <c:pt idx="4">
                  <c:v>0.24259229843028043</c:v>
                </c:pt>
                <c:pt idx="5">
                  <c:v>0.746551806581298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2480421206224596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3">
                  <c:v>1.0855829499012922E-2</c:v>
                </c:pt>
                <c:pt idx="4">
                  <c:v>0.23893125269644916</c:v>
                </c:pt>
                <c:pt idx="5">
                  <c:v>0.2016823317042624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1.2010510323445093E-6</c:v>
                </c:pt>
                <c:pt idx="5">
                  <c:v>7.619211475547366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6.9527093347492755E-2</c:v>
                </c:pt>
                <c:pt idx="5">
                  <c:v>0.154767990834408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25172661377136546</c:v>
                </c:pt>
                <c:pt idx="5">
                  <c:v>0.7482733862286344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2573461894820194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4">
                  <c:v>0.24876048164253012</c:v>
                </c:pt>
                <c:pt idx="5">
                  <c:v>0.1652542179876489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5">
                  <c:v>6.648848099057147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8.4700070188320903E-2</c:v>
                </c:pt>
                <c:pt idx="5">
                  <c:v>0.17745055970890908</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2.9789208205848974E-2</c:v>
                </c:pt>
                <c:pt idx="4">
                  <c:v>0.96665797841274659</c:v>
                </c:pt>
                <c:pt idx="5">
                  <c:v>3.5293358835349446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8.7918969877060174E-2</c:v>
                </c:pt>
                <c:pt idx="4">
                  <c:v>0.90854508832710135</c:v>
                </c:pt>
                <c:pt idx="5">
                  <c:v>3.5352147386211634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oignon</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C$2:$C$7</c:f>
              <c:numCache>
                <c:formatCode>General</c:formatCode>
                <c:ptCount val="6"/>
                <c:pt idx="4">
                  <c:v>0.3344183383218378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D$2:$D$7</c:f>
              <c:numCache>
                <c:formatCode>General</c:formatCode>
                <c:ptCount val="6"/>
                <c:pt idx="3">
                  <c:v>8.7918969877060174E-2</c:v>
                </c:pt>
                <c:pt idx="4">
                  <c:v>0.3310061174291317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E$2:$E$7</c:f>
              <c:numCache>
                <c:formatCode>General</c:formatCode>
                <c:ptCount val="6"/>
                <c:pt idx="4">
                  <c:v>0.10359458602901998</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F$2:$F$7</c:f>
              <c:numCache>
                <c:formatCode>General</c:formatCode>
                <c:ptCount val="6"/>
                <c:pt idx="4">
                  <c:v>0.13952604654711187</c:v>
                </c:pt>
                <c:pt idx="5">
                  <c:v>3.535214738621163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9141106374541705</c:v>
                </c:pt>
                <c:pt idx="5">
                  <c:v>0.8085889362545829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4">
                  <c:v>0.18938433880522237</c:v>
                </c:pt>
                <c:pt idx="5">
                  <c:v>0.1645118681716236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ou Pera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843897366579740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ta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5.6932347279614364E-7</c:v>
                </c:pt>
                <c:pt idx="5">
                  <c:v>0.1810347982256440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27865253319934125</c:v>
                </c:pt>
                <c:pt idx="5">
                  <c:v>2.0261556167218927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0.14462563881756466</c:v>
                </c:pt>
                <c:pt idx="5">
                  <c:v>0.8553743611824354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ou Perac</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C$2:$C$7</c:f>
              <c:numCache>
                <c:formatCode>General</c:formatCode>
                <c:ptCount val="6"/>
                <c:pt idx="5">
                  <c:v>0.1988531941370065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D$2:$D$7</c:f>
              <c:numCache>
                <c:formatCode>General</c:formatCode>
                <c:ptCount val="6"/>
                <c:pt idx="5">
                  <c:v>0.1861340303796392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E$2:$E$7</c:f>
              <c:numCache>
                <c:formatCode>General</c:formatCode>
                <c:ptCount val="6"/>
                <c:pt idx="4">
                  <c:v>0.13529367448761992</c:v>
                </c:pt>
                <c:pt idx="5">
                  <c:v>8.561712834784804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 CT</c:v>
                </c:pt>
                <c:pt idx="5">
                  <c:v>1-2 CT</c:v>
                </c:pt>
              </c:strCache>
            </c:strRef>
          </c:cat>
          <c:val>
            <c:numRef>
              <c:f>Sheet1!$F$2:$F$7</c:f>
              <c:numCache>
                <c:formatCode>General</c:formatCode>
                <c:ptCount val="6"/>
                <c:pt idx="4">
                  <c:v>0.2354317693677018</c:v>
                </c:pt>
                <c:pt idx="5">
                  <c:v>0.158670203280184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B$2:$B$7</c:f>
              <c:numCache>
                <c:formatCode>General</c:formatCode>
                <c:ptCount val="6"/>
                <c:pt idx="4">
                  <c:v>1.222062701202860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C$2:$C$7</c:f>
              <c:numCache>
                <c:formatCode>General</c:formatCode>
                <c:ptCount val="6"/>
                <c:pt idx="3">
                  <c:v>2.9783414678698657E-2</c:v>
                </c:pt>
                <c:pt idx="4">
                  <c:v>0.4218542655283452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D$2:$D$7</c:f>
              <c:numCache>
                <c:formatCode>General</c:formatCode>
                <c:ptCount val="6"/>
                <c:pt idx="4">
                  <c:v>7.640248034127065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ntremo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E$2:$E$7</c:f>
              <c:numCache>
                <c:formatCode>General</c:formatCode>
                <c:ptCount val="6"/>
                <c:pt idx="4">
                  <c:v>4.709731656839005E-2</c:v>
                </c:pt>
                <c:pt idx="5">
                  <c:v>6.746325765544059E-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F$2:$F$7</c:f>
              <c:numCache>
                <c:formatCode>General</c:formatCode>
                <c:ptCount val="6"/>
                <c:pt idx="2">
                  <c:v>2.2870719333027669E-5</c:v>
                </c:pt>
                <c:pt idx="3">
                  <c:v>5.7935271503155614E-6</c:v>
                </c:pt>
                <c:pt idx="4">
                  <c:v>3.4618726258795044E-3</c:v>
                </c:pt>
                <c:pt idx="5">
                  <c:v>0.4090832889627120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2 CT</c:v>
                </c:pt>
                <c:pt idx="5">
                  <c:v>1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2 CT</c:v>
                </c:pt>
                <c:pt idx="5">
                  <c:v>1 CT</c:v>
                </c:pt>
              </c:strCache>
            </c:strRef>
          </c:cat>
          <c:val>
            <c:numRef>
              <c:f>Sheet1!$C$2:$C$7</c:f>
              <c:numCache>
                <c:formatCode>General</c:formatCode>
                <c:ptCount val="6"/>
                <c:pt idx="4">
                  <c:v>0.2903103245019663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2 CT</c:v>
                </c:pt>
                <c:pt idx="5">
                  <c:v>1 CT</c:v>
                </c:pt>
              </c:strCache>
            </c:strRef>
          </c:cat>
          <c:val>
            <c:numRef>
              <c:f>Sheet1!$D$2:$D$7</c:f>
              <c:numCache>
                <c:formatCode>General</c:formatCode>
                <c:ptCount val="6"/>
                <c:pt idx="4">
                  <c:v>0.2676124875882950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2 CT</c:v>
                </c:pt>
                <c:pt idx="5">
                  <c:v>1 CT</c:v>
                </c:pt>
              </c:strCache>
            </c:strRef>
          </c:cat>
          <c:val>
            <c:numRef>
              <c:f>Sheet1!$E$2:$E$7</c:f>
              <c:numCache>
                <c:formatCode>General</c:formatCode>
                <c:ptCount val="6"/>
                <c:pt idx="4">
                  <c:v>0.1942132287600209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2 CT</c:v>
                </c:pt>
                <c:pt idx="5">
                  <c:v>1 CT</c:v>
                </c:pt>
              </c:strCache>
            </c:strRef>
          </c:cat>
          <c:val>
            <c:numRef>
              <c:f>Sheet1!$F$2:$F$7</c:f>
              <c:numCache>
                <c:formatCode>General</c:formatCode>
                <c:ptCount val="6"/>
                <c:pt idx="4">
                  <c:v>0.2478639591497175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1.9393742294192759E-3</c:v>
                </c:pt>
                <c:pt idx="4">
                  <c:v>0.998002207701053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C$2:$C$7</c:f>
              <c:numCache>
                <c:formatCode>General</c:formatCode>
                <c:ptCount val="6"/>
                <c:pt idx="3">
                  <c:v>1.9393742294192759E-3</c:v>
                </c:pt>
                <c:pt idx="4">
                  <c:v>0.3789670546007875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D$2:$D$7</c:f>
              <c:numCache>
                <c:formatCode>General</c:formatCode>
                <c:ptCount val="6"/>
                <c:pt idx="4">
                  <c:v>0.1041158030710272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E$2:$E$7</c:f>
              <c:numCache>
                <c:formatCode>General</c:formatCode>
                <c:ptCount val="6"/>
                <c:pt idx="4">
                  <c:v>5.652035310234609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F$2:$F$7</c:f>
              <c:numCache>
                <c:formatCode>General</c:formatCode>
                <c:ptCount val="6"/>
                <c:pt idx="4">
                  <c:v>0.45839899692689245</c:v>
                </c:pt>
                <c:pt idx="5">
                  <c:v>5.8418069527306488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4">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2 CT</c:v>
                </c:pt>
                <c:pt idx="5">
                  <c:v>1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2 CT</c:v>
                </c:pt>
                <c:pt idx="5">
                  <c:v>1 CT</c:v>
                </c:pt>
              </c:strCache>
            </c:strRef>
          </c:cat>
          <c:val>
            <c:numRef>
              <c:f>Sheet1!$C$2:$C$7</c:f>
              <c:numCache>
                <c:formatCode>General</c:formatCode>
                <c:ptCount val="6"/>
                <c:pt idx="4">
                  <c:v>0.3571419066151254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2 CT</c:v>
                </c:pt>
                <c:pt idx="5">
                  <c:v>1 CT</c:v>
                </c:pt>
              </c:strCache>
            </c:strRef>
          </c:cat>
          <c:val>
            <c:numRef>
              <c:f>Sheet1!$D$2:$D$7</c:f>
              <c:numCache>
                <c:formatCode>General</c:formatCode>
                <c:ptCount val="6"/>
                <c:pt idx="4">
                  <c:v>8.620002348077980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2 CT</c:v>
                </c:pt>
                <c:pt idx="5">
                  <c:v>1 CT</c:v>
                </c:pt>
              </c:strCache>
            </c:strRef>
          </c:cat>
          <c:val>
            <c:numRef>
              <c:f>Sheet1!$E$2:$E$7</c:f>
              <c:numCache>
                <c:formatCode>General</c:formatCode>
                <c:ptCount val="6"/>
                <c:pt idx="4">
                  <c:v>4.622761802262145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8 CT</c:v>
                </c:pt>
                <c:pt idx="3">
                  <c:v>2-7 CT</c:v>
                </c:pt>
                <c:pt idx="4">
                  <c:v>1-2 CT</c:v>
                </c:pt>
                <c:pt idx="5">
                  <c:v>1 CT</c:v>
                </c:pt>
              </c:strCache>
            </c:strRef>
          </c:cat>
          <c:val>
            <c:numRef>
              <c:f>Sheet1!$F$2:$F$7</c:f>
              <c:numCache>
                <c:formatCode>General</c:formatCode>
                <c:ptCount val="6"/>
                <c:pt idx="4">
                  <c:v>0.5104304518814732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7</c:f>
              <c:numCache>
                <c:formatCode>General</c:formatCode>
                <c:ptCount val="6"/>
                <c:pt idx="3">
                  <c:v>7.9758331768185389E-3</c:v>
                </c:pt>
                <c:pt idx="4">
                  <c:v>0.991786175512010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B$2:$B$7</c:f>
              <c:numCache>
                <c:formatCode>General</c:formatCode>
                <c:ptCount val="6"/>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C$2:$C$7</c:f>
              <c:numCache>
                <c:formatCode>General</c:formatCode>
                <c:ptCount val="6"/>
                <c:pt idx="3">
                  <c:v>7.9758331768185389E-3</c:v>
                </c:pt>
                <c:pt idx="4">
                  <c:v>0.4224816814445781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D$2:$D$7</c:f>
              <c:numCache>
                <c:formatCode>General</c:formatCode>
                <c:ptCount val="6"/>
                <c:pt idx="4">
                  <c:v>0.1178406771666120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E$2:$E$7</c:f>
              <c:numCache>
                <c:formatCode>General</c:formatCode>
                <c:ptCount val="6"/>
                <c:pt idx="4">
                  <c:v>7.018966102095532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2-14 CT</c:v>
                </c:pt>
                <c:pt idx="1">
                  <c:v>10-12 CT</c:v>
                </c:pt>
                <c:pt idx="2">
                  <c:v>2-7 CT</c:v>
                </c:pt>
                <c:pt idx="3">
                  <c:v>2-8 CT</c:v>
                </c:pt>
                <c:pt idx="4">
                  <c:v>1-2 CT</c:v>
                </c:pt>
                <c:pt idx="5">
                  <c:v>1 CT</c:v>
                </c:pt>
              </c:strCache>
            </c:strRef>
          </c:cat>
          <c:val>
            <c:numRef>
              <c:f>Sheet1!$F$2:$F$7</c:f>
              <c:numCache>
                <c:formatCode>General</c:formatCode>
                <c:ptCount val="6"/>
                <c:pt idx="4">
                  <c:v>0.38127415587986491</c:v>
                </c:pt>
                <c:pt idx="5">
                  <c:v>2.3799131117106321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0/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0/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0/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0/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0/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0/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3.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2.xml"/><Relationship Id="rId5" Type="http://schemas.openxmlformats.org/officeDocument/2006/relationships/chart" Target="../charts/chart3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6.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5.xml"/><Relationship Id="rId5" Type="http://schemas.openxmlformats.org/officeDocument/2006/relationships/chart" Target="../charts/chart34.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9.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8.xml"/><Relationship Id="rId5" Type="http://schemas.openxmlformats.org/officeDocument/2006/relationships/chart" Target="../charts/chart37.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2.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41.xml"/><Relationship Id="rId5" Type="http://schemas.openxmlformats.org/officeDocument/2006/relationships/chart" Target="../charts/chart40.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5.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44.xml"/><Relationship Id="rId5" Type="http://schemas.openxmlformats.org/officeDocument/2006/relationships/chart" Target="../charts/chart43.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8.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47.xml"/><Relationship Id="rId5" Type="http://schemas.openxmlformats.org/officeDocument/2006/relationships/chart" Target="../charts/chart4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1.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50.xml"/><Relationship Id="rId5" Type="http://schemas.openxmlformats.org/officeDocument/2006/relationships/chart" Target="../charts/chart4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4.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53.xml"/><Relationship Id="rId5" Type="http://schemas.openxmlformats.org/officeDocument/2006/relationships/chart" Target="../charts/chart52.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7.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56.xml"/><Relationship Id="rId5" Type="http://schemas.openxmlformats.org/officeDocument/2006/relationships/chart" Target="../charts/chart55.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59.xml"/><Relationship Id="rId5" Type="http://schemas.openxmlformats.org/officeDocument/2006/relationships/chart" Target="../charts/chart58.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3.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62.xml"/><Relationship Id="rId5" Type="http://schemas.openxmlformats.org/officeDocument/2006/relationships/chart" Target="../charts/chart61.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6.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65.xml"/><Relationship Id="rId5" Type="http://schemas.openxmlformats.org/officeDocument/2006/relationships/chart" Target="../charts/chart64.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9.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68.xml"/><Relationship Id="rId5" Type="http://schemas.openxmlformats.org/officeDocument/2006/relationships/chart" Target="../charts/chart67.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2.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71.xml"/><Relationship Id="rId5" Type="http://schemas.openxmlformats.org/officeDocument/2006/relationships/chart" Target="../charts/chart70.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5.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74.xml"/><Relationship Id="rId5" Type="http://schemas.openxmlformats.org/officeDocument/2006/relationships/chart" Target="../charts/chart73.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8.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77.xml"/><Relationship Id="rId5" Type="http://schemas.openxmlformats.org/officeDocument/2006/relationships/chart" Target="../charts/chart76.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1.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80.xml"/><Relationship Id="rId5" Type="http://schemas.openxmlformats.org/officeDocument/2006/relationships/chart" Target="../charts/chart79.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4.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83.xml"/><Relationship Id="rId5" Type="http://schemas.openxmlformats.org/officeDocument/2006/relationships/chart" Target="../charts/chart82.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7.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86.xml"/><Relationship Id="rId5" Type="http://schemas.openxmlformats.org/officeDocument/2006/relationships/chart" Target="../charts/chart85.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0.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89.xml"/><Relationship Id="rId5" Type="http://schemas.openxmlformats.org/officeDocument/2006/relationships/chart" Target="../charts/chart88.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3.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6.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95.xml"/><Relationship Id="rId5" Type="http://schemas.openxmlformats.org/officeDocument/2006/relationships/chart" Target="../charts/chart94.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9.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98.xml"/><Relationship Id="rId5" Type="http://schemas.openxmlformats.org/officeDocument/2006/relationships/chart" Target="../charts/chart97.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2.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101.xml"/><Relationship Id="rId5" Type="http://schemas.openxmlformats.org/officeDocument/2006/relationships/chart" Target="../charts/chart100.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5.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04.xml"/><Relationship Id="rId5" Type="http://schemas.openxmlformats.org/officeDocument/2006/relationships/chart" Target="../charts/chart103.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8.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07.xml"/><Relationship Id="rId5" Type="http://schemas.openxmlformats.org/officeDocument/2006/relationships/chart" Target="../charts/chart106.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1.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110.xml"/><Relationship Id="rId5" Type="http://schemas.openxmlformats.org/officeDocument/2006/relationships/chart" Target="../charts/chart109.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4.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113.xml"/><Relationship Id="rId5" Type="http://schemas.openxmlformats.org/officeDocument/2006/relationships/chart" Target="../charts/chart112.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7.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16.xml"/><Relationship Id="rId5" Type="http://schemas.openxmlformats.org/officeDocument/2006/relationships/chart" Target="../charts/chart115.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0.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119.xml"/><Relationship Id="rId5" Type="http://schemas.openxmlformats.org/officeDocument/2006/relationships/chart" Target="../charts/chart118.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3.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122.xml"/><Relationship Id="rId5" Type="http://schemas.openxmlformats.org/officeDocument/2006/relationships/chart" Target="../charts/chart121.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6.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125.xml"/><Relationship Id="rId5" Type="http://schemas.openxmlformats.org/officeDocument/2006/relationships/chart" Target="../charts/chart124.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9.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128.xml"/><Relationship Id="rId5" Type="http://schemas.openxmlformats.org/officeDocument/2006/relationships/chart" Target="../charts/chart127.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2.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31.xml"/><Relationship Id="rId5" Type="http://schemas.openxmlformats.org/officeDocument/2006/relationships/chart" Target="../charts/chart130.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5.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34.xml"/><Relationship Id="rId5" Type="http://schemas.openxmlformats.org/officeDocument/2006/relationships/chart" Target="../charts/chart133.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8.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137.xml"/><Relationship Id="rId5" Type="http://schemas.openxmlformats.org/officeDocument/2006/relationships/chart" Target="../charts/chart136.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1.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140.xml"/><Relationship Id="rId5" Type="http://schemas.openxmlformats.org/officeDocument/2006/relationships/chart" Target="../charts/chart139.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4.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143.xml"/><Relationship Id="rId5" Type="http://schemas.openxmlformats.org/officeDocument/2006/relationships/chart" Target="../charts/chart142.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7.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146.xml"/><Relationship Id="rId5" Type="http://schemas.openxmlformats.org/officeDocument/2006/relationships/chart" Target="../charts/chart145.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0.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149.xml"/><Relationship Id="rId5" Type="http://schemas.openxmlformats.org/officeDocument/2006/relationships/chart" Target="../charts/chart148.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3.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152.xml"/><Relationship Id="rId5" Type="http://schemas.openxmlformats.org/officeDocument/2006/relationships/chart" Target="../charts/chart151.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6.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155.xml"/><Relationship Id="rId5" Type="http://schemas.openxmlformats.org/officeDocument/2006/relationships/chart" Target="../charts/chart154.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9.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158.xml"/><Relationship Id="rId5" Type="http://schemas.openxmlformats.org/officeDocument/2006/relationships/chart" Target="../charts/chart157.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2.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161.xml"/><Relationship Id="rId5" Type="http://schemas.openxmlformats.org/officeDocument/2006/relationships/chart" Target="../charts/chart160.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5.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164.xml"/><Relationship Id="rId5" Type="http://schemas.openxmlformats.org/officeDocument/2006/relationships/chart" Target="../charts/chart163.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8.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167.xml"/><Relationship Id="rId5" Type="http://schemas.openxmlformats.org/officeDocument/2006/relationships/chart" Target="../charts/chart166.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1.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170.xml"/><Relationship Id="rId5" Type="http://schemas.openxmlformats.org/officeDocument/2006/relationships/chart" Target="../charts/chart169.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4.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173.xml"/><Relationship Id="rId5" Type="http://schemas.openxmlformats.org/officeDocument/2006/relationships/chart" Target="../charts/chart172.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7.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176.xml"/><Relationship Id="rId5" Type="http://schemas.openxmlformats.org/officeDocument/2006/relationships/chart" Target="../charts/chart175.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0.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179.xml"/><Relationship Id="rId5" Type="http://schemas.openxmlformats.org/officeDocument/2006/relationships/chart" Target="../charts/chart178.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3.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182.xml"/><Relationship Id="rId5" Type="http://schemas.openxmlformats.org/officeDocument/2006/relationships/chart" Target="../charts/chart181.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6.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185.xml"/><Relationship Id="rId5" Type="http://schemas.openxmlformats.org/officeDocument/2006/relationships/chart" Target="../charts/chart184.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9.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188.xml"/><Relationship Id="rId5" Type="http://schemas.openxmlformats.org/officeDocument/2006/relationships/chart" Target="../charts/chart187.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2.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191.xml"/><Relationship Id="rId5" Type="http://schemas.openxmlformats.org/officeDocument/2006/relationships/chart" Target="../charts/chart190.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5.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194.xml"/><Relationship Id="rId5" Type="http://schemas.openxmlformats.org/officeDocument/2006/relationships/chart" Target="../charts/chart193.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8.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197.xml"/><Relationship Id="rId5" Type="http://schemas.openxmlformats.org/officeDocument/2006/relationships/chart" Target="../charts/chart196.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1.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200.xml"/><Relationship Id="rId5" Type="http://schemas.openxmlformats.org/officeDocument/2006/relationships/chart" Target="../charts/chart199.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4.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203.xml"/><Relationship Id="rId5" Type="http://schemas.openxmlformats.org/officeDocument/2006/relationships/chart" Target="../charts/chart202.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7.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206.xml"/><Relationship Id="rId5" Type="http://schemas.openxmlformats.org/officeDocument/2006/relationships/chart" Target="../charts/chart205.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0.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209.xml"/><Relationship Id="rId5" Type="http://schemas.openxmlformats.org/officeDocument/2006/relationships/chart" Target="../charts/chart208.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3.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212.xml"/><Relationship Id="rId5" Type="http://schemas.openxmlformats.org/officeDocument/2006/relationships/chart" Target="../charts/chart211.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6.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215.xml"/><Relationship Id="rId5" Type="http://schemas.openxmlformats.org/officeDocument/2006/relationships/chart" Target="../charts/chart214.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9.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218.xml"/><Relationship Id="rId5" Type="http://schemas.openxmlformats.org/officeDocument/2006/relationships/chart" Target="../charts/chart217.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2.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221.xml"/><Relationship Id="rId5" Type="http://schemas.openxmlformats.org/officeDocument/2006/relationships/chart" Target="../charts/chart220.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5.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224.xml"/><Relationship Id="rId5" Type="http://schemas.openxmlformats.org/officeDocument/2006/relationships/chart" Target="../charts/chart223.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8.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227.xml"/><Relationship Id="rId5" Type="http://schemas.openxmlformats.org/officeDocument/2006/relationships/chart" Target="../charts/chart226.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1.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230.xml"/><Relationship Id="rId5" Type="http://schemas.openxmlformats.org/officeDocument/2006/relationships/chart" Target="../charts/chart229.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4.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233.xml"/><Relationship Id="rId5" Type="http://schemas.openxmlformats.org/officeDocument/2006/relationships/chart" Target="../charts/chart232.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7.xml"/><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chart" Target="../charts/chart236.xml"/><Relationship Id="rId5" Type="http://schemas.openxmlformats.org/officeDocument/2006/relationships/chart" Target="../charts/chart235.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3.xml"/><Relationship Id="rId5" Type="http://schemas.openxmlformats.org/officeDocument/2006/relationships/chart" Target="../charts/chart22.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0.xml"/><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chart" Target="../charts/chart239.xml"/><Relationship Id="rId5" Type="http://schemas.openxmlformats.org/officeDocument/2006/relationships/chart" Target="../charts/chart238.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3.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242.xml"/><Relationship Id="rId5" Type="http://schemas.openxmlformats.org/officeDocument/2006/relationships/chart" Target="../charts/chart241.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6.xml"/><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chart" Target="../charts/chart245.xml"/><Relationship Id="rId5" Type="http://schemas.openxmlformats.org/officeDocument/2006/relationships/chart" Target="../charts/chart244.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9.xml"/><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chart" Target="../charts/chart248.xml"/><Relationship Id="rId5" Type="http://schemas.openxmlformats.org/officeDocument/2006/relationships/chart" Target="../charts/chart247.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2.xml"/><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chart" Target="../charts/chart251.xml"/><Relationship Id="rId5" Type="http://schemas.openxmlformats.org/officeDocument/2006/relationships/chart" Target="../charts/chart250.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5.xml"/><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chart" Target="../charts/chart254.xml"/><Relationship Id="rId5" Type="http://schemas.openxmlformats.org/officeDocument/2006/relationships/chart" Target="../charts/chart253.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8.xml"/><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chart" Target="../charts/chart257.xml"/><Relationship Id="rId5" Type="http://schemas.openxmlformats.org/officeDocument/2006/relationships/chart" Target="../charts/chart256.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1.xml"/><Relationship Id="rId2" Type="http://schemas.openxmlformats.org/officeDocument/2006/relationships/slideLayout" Target="../slideLayouts/slideLayout7.xml"/><Relationship Id="rId1" Type="http://schemas.openxmlformats.org/officeDocument/2006/relationships/tags" Target="../tags/tag114.xml"/><Relationship Id="rId6" Type="http://schemas.openxmlformats.org/officeDocument/2006/relationships/chart" Target="../charts/chart260.xml"/><Relationship Id="rId5" Type="http://schemas.openxmlformats.org/officeDocument/2006/relationships/chart" Target="../charts/chart259.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4.xml"/><Relationship Id="rId2" Type="http://schemas.openxmlformats.org/officeDocument/2006/relationships/slideLayout" Target="../slideLayouts/slideLayout7.xml"/><Relationship Id="rId1" Type="http://schemas.openxmlformats.org/officeDocument/2006/relationships/tags" Target="../tags/tag115.xml"/><Relationship Id="rId6" Type="http://schemas.openxmlformats.org/officeDocument/2006/relationships/chart" Target="../charts/chart263.xml"/><Relationship Id="rId5" Type="http://schemas.openxmlformats.org/officeDocument/2006/relationships/chart" Target="../charts/chart262.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7.xml"/><Relationship Id="rId2" Type="http://schemas.openxmlformats.org/officeDocument/2006/relationships/slideLayout" Target="../slideLayouts/slideLayout7.xml"/><Relationship Id="rId1" Type="http://schemas.openxmlformats.org/officeDocument/2006/relationships/tags" Target="../tags/tag116.xml"/><Relationship Id="rId6" Type="http://schemas.openxmlformats.org/officeDocument/2006/relationships/chart" Target="../charts/chart266.xml"/><Relationship Id="rId5" Type="http://schemas.openxmlformats.org/officeDocument/2006/relationships/chart" Target="../charts/chart265.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0.xml"/><Relationship Id="rId2" Type="http://schemas.openxmlformats.org/officeDocument/2006/relationships/slideLayout" Target="../slideLayouts/slideLayout7.xml"/><Relationship Id="rId1" Type="http://schemas.openxmlformats.org/officeDocument/2006/relationships/tags" Target="../tags/tag117.xml"/><Relationship Id="rId6" Type="http://schemas.openxmlformats.org/officeDocument/2006/relationships/chart" Target="../charts/chart269.xml"/><Relationship Id="rId5" Type="http://schemas.openxmlformats.org/officeDocument/2006/relationships/chart" Target="../charts/chart268.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3.xml"/><Relationship Id="rId2" Type="http://schemas.openxmlformats.org/officeDocument/2006/relationships/slideLayout" Target="../slideLayouts/slideLayout7.xml"/><Relationship Id="rId1" Type="http://schemas.openxmlformats.org/officeDocument/2006/relationships/tags" Target="../tags/tag118.xml"/><Relationship Id="rId6" Type="http://schemas.openxmlformats.org/officeDocument/2006/relationships/chart" Target="../charts/chart272.xml"/><Relationship Id="rId5" Type="http://schemas.openxmlformats.org/officeDocument/2006/relationships/chart" Target="../charts/chart271.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6.xml"/><Relationship Id="rId2" Type="http://schemas.openxmlformats.org/officeDocument/2006/relationships/slideLayout" Target="../slideLayouts/slideLayout7.xml"/><Relationship Id="rId1" Type="http://schemas.openxmlformats.org/officeDocument/2006/relationships/tags" Target="../tags/tag119.xml"/><Relationship Id="rId6" Type="http://schemas.openxmlformats.org/officeDocument/2006/relationships/chart" Target="../charts/chart275.xml"/><Relationship Id="rId5" Type="http://schemas.openxmlformats.org/officeDocument/2006/relationships/chart" Target="../charts/chart274.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9.xml"/><Relationship Id="rId2" Type="http://schemas.openxmlformats.org/officeDocument/2006/relationships/slideLayout" Target="../slideLayouts/slideLayout7.xml"/><Relationship Id="rId1" Type="http://schemas.openxmlformats.org/officeDocument/2006/relationships/tags" Target="../tags/tag120.xml"/><Relationship Id="rId6" Type="http://schemas.openxmlformats.org/officeDocument/2006/relationships/chart" Target="../charts/chart278.xml"/><Relationship Id="rId5" Type="http://schemas.openxmlformats.org/officeDocument/2006/relationships/chart" Target="../charts/chart277.xml"/><Relationship Id="rId4" Type="http://schemas.openxmlformats.org/officeDocument/2006/relationships/image" Target="../media/image28.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82.xml"/><Relationship Id="rId2" Type="http://schemas.openxmlformats.org/officeDocument/2006/relationships/slideLayout" Target="../slideLayouts/slideLayout7.xml"/><Relationship Id="rId1" Type="http://schemas.openxmlformats.org/officeDocument/2006/relationships/tags" Target="../tags/tag121.xml"/><Relationship Id="rId6" Type="http://schemas.openxmlformats.org/officeDocument/2006/relationships/chart" Target="../charts/chart281.xml"/><Relationship Id="rId5" Type="http://schemas.openxmlformats.org/officeDocument/2006/relationships/chart" Target="../charts/chart280.xml"/><Relationship Id="rId4" Type="http://schemas.openxmlformats.org/officeDocument/2006/relationships/image" Target="../media/image28.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85.xml"/><Relationship Id="rId2" Type="http://schemas.openxmlformats.org/officeDocument/2006/relationships/slideLayout" Target="../slideLayouts/slideLayout7.xml"/><Relationship Id="rId1" Type="http://schemas.openxmlformats.org/officeDocument/2006/relationships/tags" Target="../tags/tag122.xml"/><Relationship Id="rId6" Type="http://schemas.openxmlformats.org/officeDocument/2006/relationships/chart" Target="../charts/chart284.xml"/><Relationship Id="rId5" Type="http://schemas.openxmlformats.org/officeDocument/2006/relationships/chart" Target="../charts/chart283.xml"/><Relationship Id="rId4" Type="http://schemas.openxmlformats.org/officeDocument/2006/relationships/image" Target="../media/image28.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88.xml"/><Relationship Id="rId2" Type="http://schemas.openxmlformats.org/officeDocument/2006/relationships/slideLayout" Target="../slideLayouts/slideLayout7.xml"/><Relationship Id="rId1" Type="http://schemas.openxmlformats.org/officeDocument/2006/relationships/tags" Target="../tags/tag123.xml"/><Relationship Id="rId6" Type="http://schemas.openxmlformats.org/officeDocument/2006/relationships/chart" Target="../charts/chart287.xml"/><Relationship Id="rId5" Type="http://schemas.openxmlformats.org/officeDocument/2006/relationships/chart" Target="../charts/chart286.xml"/><Relationship Id="rId4" Type="http://schemas.openxmlformats.org/officeDocument/2006/relationships/image" Target="../media/image28.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91.xml"/><Relationship Id="rId2" Type="http://schemas.openxmlformats.org/officeDocument/2006/relationships/slideLayout" Target="../slideLayouts/slideLayout7.xml"/><Relationship Id="rId1" Type="http://schemas.openxmlformats.org/officeDocument/2006/relationships/tags" Target="../tags/tag124.xml"/><Relationship Id="rId6" Type="http://schemas.openxmlformats.org/officeDocument/2006/relationships/chart" Target="../charts/chart290.xml"/><Relationship Id="rId5" Type="http://schemas.openxmlformats.org/officeDocument/2006/relationships/chart" Target="../charts/chart289.xml"/><Relationship Id="rId4" Type="http://schemas.openxmlformats.org/officeDocument/2006/relationships/image" Target="../media/image28.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94.xml"/><Relationship Id="rId2" Type="http://schemas.openxmlformats.org/officeDocument/2006/relationships/slideLayout" Target="../slideLayouts/slideLayout7.xml"/><Relationship Id="rId1" Type="http://schemas.openxmlformats.org/officeDocument/2006/relationships/tags" Target="../tags/tag125.xml"/><Relationship Id="rId6" Type="http://schemas.openxmlformats.org/officeDocument/2006/relationships/chart" Target="../charts/chart293.xml"/><Relationship Id="rId5" Type="http://schemas.openxmlformats.org/officeDocument/2006/relationships/chart" Target="../charts/chart292.xml"/><Relationship Id="rId4" Type="http://schemas.openxmlformats.org/officeDocument/2006/relationships/image" Target="../media/image28.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97.xml"/><Relationship Id="rId2" Type="http://schemas.openxmlformats.org/officeDocument/2006/relationships/slideLayout" Target="../slideLayouts/slideLayout7.xml"/><Relationship Id="rId1" Type="http://schemas.openxmlformats.org/officeDocument/2006/relationships/tags" Target="../tags/tag126.xml"/><Relationship Id="rId6" Type="http://schemas.openxmlformats.org/officeDocument/2006/relationships/chart" Target="../charts/chart296.xml"/><Relationship Id="rId5" Type="http://schemas.openxmlformats.org/officeDocument/2006/relationships/chart" Target="../charts/chart295.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85745256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Ingredient A Chaud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6427450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Ingredient A Chaud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6948397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Ingredient A Chaud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2677333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2251460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50016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8706943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9305885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0580908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0341384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2438098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0163206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2056093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7585475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8478727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8851465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9283199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06478115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38484995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56899053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1078030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2884014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1072587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38470426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pecialit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58049292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pecialit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61053639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pecialit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97624266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81819742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56909835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29973040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54861613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41833154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6043611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68592927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70816419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73353405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51585475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Ingredient A Chaud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57797777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Ingredient A Chaud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05761701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Ingredient A Chaud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08809674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26934564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56567256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1280044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8847201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08595331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85041295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57314718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42041347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33162730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47695021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29811976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84719237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19458905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90486639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8032362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65064330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80424168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56315837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96125653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54351378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pecialit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64404566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pecialit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415049981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pecialit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6086425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8051909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641403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5681482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03062814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59624631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62007901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9003234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97145360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13450486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405359585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Ingredient A Chaud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48328434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Ingredient A Chaud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65039665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Ingredient A Chaud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85406605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5002443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28824108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70544973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12551345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76232048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13256439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01802913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79858107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33024420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25042934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16502142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1059880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87183087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51839464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88280005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5587089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32301931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65257350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387197708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195757133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pecialit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65056868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pecialite | Carrefour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414084595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pecialite | Intermarche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537356">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537356">
                <a:tc>
                  <a:txBody>
                    <a:bodyPr/>
                    <a:lstStyle/>
                    <a:p>
                      <a:pPr algn="ctr">
                        <a:defRPr sz="800">
                          <a:latin typeface="Nexa Bold"/>
                        </a:defRPr>
                      </a:pPr>
                      <a:r>
                        <a:t>10-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537356">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537356">
                <a:tc>
                  <a:txBody>
                    <a:bodyPr/>
                    <a:lstStyle/>
                    <a:p>
                      <a:pPr algn="ctr">
                        <a:defRPr sz="800">
                          <a:latin typeface="Nexa Bold"/>
                        </a:defRPr>
                      </a:pPr>
                      <a:r>
                        <a:t>2-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537356">
                <a:tc>
                  <a:txBody>
                    <a:bodyPr/>
                    <a:lstStyle/>
                    <a:p>
                      <a:pPr algn="ctr">
                        <a:defRPr sz="800">
                          <a:latin typeface="Nexa Bold"/>
                        </a:defRPr>
                      </a:pPr>
                      <a:r>
                        <a:t>1-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537356">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10/2025</a:t>
            </a:fld>
            <a:endParaRPr lang="en-US" sz="500"/>
          </a:p>
        </p:txBody>
      </p:sp>
    </p:spTree>
    <p:extLst>
      <p:ext uri="{BB962C8B-B14F-4D97-AF65-F5344CB8AC3E}">
        <p14:creationId xmlns:p14="http://schemas.microsoft.com/office/powerpoint/2010/main" val="24006713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502A1C8-4964-4CAE-93D2-4FFA7871C1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TotalTime>
  <Words>7067</Words>
  <Application>Microsoft Office PowerPoint</Application>
  <PresentationFormat>On-screen Show (16:9)</PresentationFormat>
  <Paragraphs>2177</Paragraphs>
  <Slides>99</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99</vt:i4>
      </vt:variant>
    </vt:vector>
  </HeadingPairs>
  <TitlesOfParts>
    <vt:vector size="108" baseType="lpstr">
      <vt:lpstr>Aptos</vt:lpstr>
      <vt:lpstr>Arial</vt:lpstr>
      <vt:lpstr>Nexa</vt:lpstr>
      <vt:lpstr>Nexa Bold</vt:lpstr>
      <vt:lpstr>Nexa Book</vt:lpstr>
      <vt:lpstr>Nexa Book Italic</vt:lpstr>
      <vt:lpstr>Open Sans</vt:lpstr>
      <vt:lpstr>1_PricingOne Light Template Oct 2024</vt:lpstr>
      <vt:lpstr>think-cell Slide</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7</cp:revision>
  <dcterms:created xsi:type="dcterms:W3CDTF">2024-07-05T11:30:58Z</dcterms:created>
  <dcterms:modified xsi:type="dcterms:W3CDTF">2025-09-10T14:30: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